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notesSlides/notesSlide3.xml" ContentType="application/vnd.openxmlformats-officedocument.presentationml.notesSlide+xml"/>
  <Override PartName="/ppt/tags/tag52.xml" ContentType="application/vnd.openxmlformats-officedocument.presentationml.tags+xml"/>
  <Override PartName="/ppt/notesSlides/notesSlide4.xml" ContentType="application/vnd.openxmlformats-officedocument.presentationml.notesSlide+xml"/>
  <Override PartName="/ppt/tags/tag53.xml" ContentType="application/vnd.openxmlformats-officedocument.presentationml.tags+xml"/>
  <Override PartName="/ppt/notesSlides/notesSlide5.xml" ContentType="application/vnd.openxmlformats-officedocument.presentationml.notesSlide+xml"/>
  <Override PartName="/ppt/tags/tag54.xml" ContentType="application/vnd.openxmlformats-officedocument.presentationml.tags+xml"/>
  <Override PartName="/ppt/notesSlides/notesSlide6.xml" ContentType="application/vnd.openxmlformats-officedocument.presentationml.notesSlide+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tags/tag60.xml" ContentType="application/vnd.openxmlformats-officedocument.presentationml.tags+xml"/>
  <Override PartName="/ppt/charts/chart27.xml" ContentType="application/vnd.openxmlformats-officedocument.drawingml.chart+xml"/>
  <Override PartName="/ppt/tags/tag61.xml" ContentType="application/vnd.openxmlformats-officedocument.presentationml.tags+xml"/>
  <Override PartName="/ppt/charts/chart28.xml" ContentType="application/vnd.openxmlformats-officedocument.drawingml.chart+xml"/>
  <Override PartName="/ppt/tags/tag62.xml" ContentType="application/vnd.openxmlformats-officedocument.presentationml.tags+xml"/>
  <Override PartName="/ppt/charts/chart29.xml" ContentType="application/vnd.openxmlformats-officedocument.drawingml.chart+xml"/>
  <Override PartName="/ppt/tags/tag63.xml" ContentType="application/vnd.openxmlformats-officedocument.presentationml.tags+xml"/>
  <Override PartName="/ppt/charts/chart30.xml" ContentType="application/vnd.openxmlformats-officedocument.drawingml.chart+xml"/>
  <Override PartName="/ppt/tags/tag64.xml" ContentType="application/vnd.openxmlformats-officedocument.presentationml.tags+xml"/>
  <Override PartName="/ppt/charts/chart31.xml" ContentType="application/vnd.openxmlformats-officedocument.drawingml.chart+xml"/>
  <Override PartName="/ppt/tags/tag65.xml" ContentType="application/vnd.openxmlformats-officedocument.presentationml.tags+xml"/>
  <Override PartName="/ppt/charts/chart32.xml" ContentType="application/vnd.openxmlformats-officedocument.drawingml.chart+xml"/>
  <Override PartName="/ppt/tags/tag66.xml" ContentType="application/vnd.openxmlformats-officedocument.presentationml.tags+xml"/>
  <Override PartName="/ppt/charts/chart33.xml" ContentType="application/vnd.openxmlformats-officedocument.drawingml.chart+xml"/>
  <Override PartName="/ppt/tags/tag67.xml" ContentType="application/vnd.openxmlformats-officedocument.presentationml.tags+xml"/>
  <Override PartName="/ppt/charts/chart34.xml" ContentType="application/vnd.openxmlformats-officedocument.drawingml.chart+xml"/>
  <Override PartName="/ppt/tags/tag68.xml" ContentType="application/vnd.openxmlformats-officedocument.presentationml.tags+xml"/>
  <Override PartName="/ppt/charts/chart35.xml" ContentType="application/vnd.openxmlformats-officedocument.drawingml.chart+xml"/>
  <Override PartName="/ppt/tags/tag69.xml" ContentType="application/vnd.openxmlformats-officedocument.presentationml.tags+xml"/>
  <Override PartName="/ppt/charts/chart36.xml" ContentType="application/vnd.openxmlformats-officedocument.drawingml.chart+xml"/>
  <Override PartName="/ppt/tags/tag70.xml" ContentType="application/vnd.openxmlformats-officedocument.presentationml.tags+xml"/>
  <Override PartName="/ppt/charts/chart37.xml" ContentType="application/vnd.openxmlformats-officedocument.drawingml.chart+xml"/>
  <Override PartName="/ppt/tags/tag71.xml" ContentType="application/vnd.openxmlformats-officedocument.presentationml.tags+xml"/>
  <Override PartName="/ppt/charts/chart38.xml" ContentType="application/vnd.openxmlformats-officedocument.drawingml.chart+xml"/>
  <Override PartName="/ppt/tags/tag72.xml" ContentType="application/vnd.openxmlformats-officedocument.presentationml.tags+xml"/>
  <Override PartName="/ppt/charts/chart39.xml" ContentType="application/vnd.openxmlformats-officedocument.drawingml.chart+xml"/>
  <Override PartName="/ppt/tags/tag73.xml" ContentType="application/vnd.openxmlformats-officedocument.presentationml.tags+xml"/>
  <Override PartName="/ppt/charts/chart40.xml" ContentType="application/vnd.openxmlformats-officedocument.drawingml.chart+xml"/>
  <Override PartName="/ppt/tags/tag74.xml" ContentType="application/vnd.openxmlformats-officedocument.presentationml.tags+xml"/>
  <Override PartName="/ppt/charts/chart41.xml" ContentType="application/vnd.openxmlformats-officedocument.drawingml.chart+xml"/>
  <Override PartName="/ppt/tags/tag75.xml" ContentType="application/vnd.openxmlformats-officedocument.presentationml.tags+xml"/>
  <Override PartName="/ppt/charts/chart42.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F602399B-F3BF-4EF7-846D-3AAF79A73EF6}">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Lst>
        </p14:section>
        <p14:section name="Sectors Share and Growth By Brands" id="{C3BB26D8-4F86-407B-9BA8-DA4905E82694}">
          <p14:sldIdLst>
            <p14:sldId id="2147477386"/>
            <p14:sldId id="2147477387"/>
            <p14:sldId id="2147477388"/>
          </p14:sldIdLst>
        </p14:section>
        <p14:section name="Segments Share and Growth By Brands" id="{54729A7C-E6DD-4C51-8BAF-36C7575D368E}">
          <p14:sldIdLst>
            <p14:sldId id="2147477389"/>
            <p14:sldId id="2147477390"/>
            <p14:sldId id="2147477391"/>
          </p14:sldIdLst>
        </p14:section>
        <p14:section name="Price Point Distribution Analysis By Brand" id="{AC6CADD4-D87F-4ED1-8F38-8041534D5D84}">
          <p14:sldIdLst>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1D7101-12DD-4054-AE3F-069C47F9F5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6F2D22-82F7-4498-80FA-B7AF2214B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2722CA-3853-49B2-879B-251FD53AA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3984C7-99FD-4887-9771-0E81B9A6C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534658-77CA-42C8-A116-ED08586D1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37E3B0-8669-4072-90DF-C14FB0F8C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5E4206-9EA2-41B0-9862-8CC69C523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2FC051-E751-4AD9-AFE5-65994F97F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2707999999999999</c:v>
                </c:pt>
                <c:pt idx="1">
                  <c:v>2.5295000000000001</c:v>
                </c:pt>
                <c:pt idx="2">
                  <c:v>2.7004000000000001</c:v>
                </c:pt>
                <c:pt idx="3">
                  <c:v>2.8982999999999999</c:v>
                </c:pt>
                <c:pt idx="4">
                  <c:v>3.3340999999999998</c:v>
                </c:pt>
                <c:pt idx="5">
                  <c:v>3.2122000000000002</c:v>
                </c:pt>
                <c:pt idx="6">
                  <c:v>2.3018000000000001</c:v>
                </c:pt>
                <c:pt idx="7">
                  <c:v>3.1894</c:v>
                </c:pt>
                <c:pt idx="8">
                  <c:v>2.4699</c:v>
                </c:pt>
              </c:numCache>
            </c:numRef>
          </c:xVal>
          <c:yVal>
            <c:numRef>
              <c:f>Sheet1!$B$2:$B$10</c:f>
              <c:numCache>
                <c:formatCode>General</c:formatCode>
                <c:ptCount val="9"/>
                <c:pt idx="0">
                  <c:v>0.86599999999999999</c:v>
                </c:pt>
                <c:pt idx="1">
                  <c:v>0.88500000000000001</c:v>
                </c:pt>
                <c:pt idx="2">
                  <c:v>1.0760000000000001</c:v>
                </c:pt>
                <c:pt idx="3">
                  <c:v>1.1339999999999999</c:v>
                </c:pt>
                <c:pt idx="4">
                  <c:v>1.2909999999999999</c:v>
                </c:pt>
                <c:pt idx="5">
                  <c:v>1.151</c:v>
                </c:pt>
                <c:pt idx="6">
                  <c:v>1.121</c:v>
                </c:pt>
                <c:pt idx="7">
                  <c:v>0.89</c:v>
                </c:pt>
                <c:pt idx="8">
                  <c:v>0.71</c:v>
                </c:pt>
              </c:numCache>
            </c:numRef>
          </c:yVal>
          <c:bubbleSize>
            <c:numRef>
              <c:f>Sheet1!$C$2:$C$10</c:f>
              <c:numCache>
                <c:formatCode>General</c:formatCode>
                <c:ptCount val="9"/>
                <c:pt idx="0">
                  <c:v>3555101229</c:v>
                </c:pt>
                <c:pt idx="1">
                  <c:v>441401234</c:v>
                </c:pt>
                <c:pt idx="2">
                  <c:v>212784778</c:v>
                </c:pt>
                <c:pt idx="3">
                  <c:v>198815524</c:v>
                </c:pt>
                <c:pt idx="4">
                  <c:v>194491569</c:v>
                </c:pt>
                <c:pt idx="5">
                  <c:v>187705593</c:v>
                </c:pt>
                <c:pt idx="6">
                  <c:v>159815144</c:v>
                </c:pt>
                <c:pt idx="7">
                  <c:v>149020607</c:v>
                </c:pt>
                <c:pt idx="8">
                  <c:v>14691431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Entremont</c:v>
                  </c:pt>
                  <c:pt idx="5">
                    <c:v>Caprice Des Dieux</c:v>
                  </c:pt>
                  <c:pt idx="6">
                    <c:v>Galbani</c:v>
                  </c:pt>
                  <c:pt idx="7">
                    <c:v>La Vache Qui Rit</c:v>
                  </c:pt>
                  <c:pt idx="8">
                    <c:v>Coeur De L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38E031-F990-44C8-825F-62E5363ED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0680CD-75B3-4F57-881D-8C11F46E0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F462D5-0E5C-4F90-B83D-914E8D336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EDFFEB4-47EF-49B2-BA2A-97410F281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52A1C0-65BB-48F7-89CF-35EA654DE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82E20A-C2A1-43C2-8077-135200001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C48D19B-8645-45C1-8A97-3C10D9E1A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2FC9D8-E9BA-47DF-965A-DE0842AB6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449999999999999</c:v>
                </c:pt>
                <c:pt idx="1">
                  <c:v>2.0207000000000002</c:v>
                </c:pt>
                <c:pt idx="2">
                  <c:v>3.448</c:v>
                </c:pt>
                <c:pt idx="3">
                  <c:v>1.873</c:v>
                </c:pt>
                <c:pt idx="4">
                  <c:v>3.58</c:v>
                </c:pt>
                <c:pt idx="5">
                  <c:v>2.5432000000000001</c:v>
                </c:pt>
              </c:numCache>
            </c:numRef>
          </c:xVal>
          <c:yVal>
            <c:numRef>
              <c:f>Sheet1!$B$2:$B$7</c:f>
              <c:numCache>
                <c:formatCode>General</c:formatCode>
                <c:ptCount val="6"/>
                <c:pt idx="0">
                  <c:v>0.85899999999999999</c:v>
                </c:pt>
                <c:pt idx="1">
                  <c:v>1.1160000000000001</c:v>
                </c:pt>
                <c:pt idx="2">
                  <c:v>1.526</c:v>
                </c:pt>
                <c:pt idx="3">
                  <c:v>1.145</c:v>
                </c:pt>
                <c:pt idx="4">
                  <c:v>1.4239999999999999</c:v>
                </c:pt>
                <c:pt idx="5">
                  <c:v>1.3720000000000001</c:v>
                </c:pt>
              </c:numCache>
            </c:numRef>
          </c:yVal>
          <c:bubbleSize>
            <c:numRef>
              <c:f>Sheet1!$C$2:$C$7</c:f>
              <c:numCache>
                <c:formatCode>General</c:formatCode>
                <c:ptCount val="6"/>
                <c:pt idx="0">
                  <c:v>77248377</c:v>
                </c:pt>
                <c:pt idx="1">
                  <c:v>34203912</c:v>
                </c:pt>
                <c:pt idx="2">
                  <c:v>8572561</c:v>
                </c:pt>
                <c:pt idx="3">
                  <c:v>5901619</c:v>
                </c:pt>
                <c:pt idx="4">
                  <c:v>2984383</c:v>
                </c:pt>
                <c:pt idx="5">
                  <c:v>259271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La Vache Qui Rit</c:v>
                  </c:pt>
                  <c:pt idx="4">
                    <c:v>Raguin</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2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9EC79D-0D5C-4F2C-AD13-06E5932AB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DB6BD6-3CAE-4A93-8BB1-B5C669B5D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153166-BCD1-4FA3-A58D-01719E771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B8436B-C75C-4E9F-BE0E-4D9282154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2FBDDF-D639-4E1F-9E3E-5E2B389CF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16CA16A-E9DE-49EF-BA28-DED8D3B9B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781A651-C7C7-4DFD-9639-502189A75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A55B98-C929-4C81-BF43-88E707BD7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009</c:v>
                </c:pt>
                <c:pt idx="1">
                  <c:v>2.0162</c:v>
                </c:pt>
                <c:pt idx="2">
                  <c:v>1.7841</c:v>
                </c:pt>
                <c:pt idx="3">
                  <c:v>3.4218000000000002</c:v>
                </c:pt>
                <c:pt idx="4">
                  <c:v>2.6625999999999999</c:v>
                </c:pt>
                <c:pt idx="5">
                  <c:v>4.0000999999999998</c:v>
                </c:pt>
              </c:numCache>
            </c:numRef>
          </c:xVal>
          <c:yVal>
            <c:numRef>
              <c:f>Sheet1!$B$2:$B$7</c:f>
              <c:numCache>
                <c:formatCode>General</c:formatCode>
                <c:ptCount val="6"/>
                <c:pt idx="0">
                  <c:v>0.84699999999999998</c:v>
                </c:pt>
                <c:pt idx="1">
                  <c:v>1.137</c:v>
                </c:pt>
                <c:pt idx="2">
                  <c:v>1.093</c:v>
                </c:pt>
                <c:pt idx="3">
                  <c:v>1.5529999999999999</c:v>
                </c:pt>
                <c:pt idx="4">
                  <c:v>1.379</c:v>
                </c:pt>
                <c:pt idx="5">
                  <c:v>1.5629999999999999</c:v>
                </c:pt>
              </c:numCache>
            </c:numRef>
          </c:yVal>
          <c:bubbleSize>
            <c:numRef>
              <c:f>Sheet1!$C$2:$C$7</c:f>
              <c:numCache>
                <c:formatCode>General</c:formatCode>
                <c:ptCount val="6"/>
                <c:pt idx="0">
                  <c:v>8889711</c:v>
                </c:pt>
                <c:pt idx="1">
                  <c:v>4466526</c:v>
                </c:pt>
                <c:pt idx="2">
                  <c:v>1665377</c:v>
                </c:pt>
                <c:pt idx="3">
                  <c:v>826174</c:v>
                </c:pt>
                <c:pt idx="4">
                  <c:v>381075</c:v>
                </c:pt>
                <c:pt idx="5">
                  <c:v>19517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Vache Qui Rit</c:v>
                  </c:pt>
                  <c:pt idx="3">
                    <c:v>La Belle Etoile</c:v>
                  </c:pt>
                  <c:pt idx="4">
                    <c:v>Boursin</c:v>
                  </c:pt>
                  <c:pt idx="5">
                    <c:v>Ragu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6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2D1F53-C0E7-4751-B418-0AF5D1DAE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218D43-37DC-4885-AAB7-96684C0AA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BEEABA-BE89-45FF-9D21-3A2C8DA30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DC3D0A-8D06-4CEA-B911-FC7F51A7F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59CEE4-418E-4838-AFCB-06DDA816F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6AD025F-431F-4D52-ABC5-1E641E8BA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0815636-B3D0-4988-B981-5775E4162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9A748F4-E0F7-4E98-AA5D-65D4F53A6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062000000000001</c:v>
                </c:pt>
                <c:pt idx="1">
                  <c:v>2.0152000000000001</c:v>
                </c:pt>
                <c:pt idx="2">
                  <c:v>3.7374999999999998</c:v>
                </c:pt>
                <c:pt idx="3">
                  <c:v>3.7753000000000001</c:v>
                </c:pt>
                <c:pt idx="4">
                  <c:v>2.641</c:v>
                </c:pt>
              </c:numCache>
            </c:numRef>
          </c:xVal>
          <c:yVal>
            <c:numRef>
              <c:f>Sheet1!$B$2:$B$6</c:f>
              <c:numCache>
                <c:formatCode>General</c:formatCode>
                <c:ptCount val="5"/>
                <c:pt idx="0">
                  <c:v>0.84</c:v>
                </c:pt>
                <c:pt idx="1">
                  <c:v>1.071</c:v>
                </c:pt>
                <c:pt idx="2">
                  <c:v>1.546</c:v>
                </c:pt>
                <c:pt idx="3">
                  <c:v>1.4550000000000001</c:v>
                </c:pt>
                <c:pt idx="4">
                  <c:v>1.421</c:v>
                </c:pt>
              </c:numCache>
            </c:numRef>
          </c:yVal>
          <c:bubbleSize>
            <c:numRef>
              <c:f>Sheet1!$C$2:$C$6</c:f>
              <c:numCache>
                <c:formatCode>General</c:formatCode>
                <c:ptCount val="5"/>
                <c:pt idx="0">
                  <c:v>16108620</c:v>
                </c:pt>
                <c:pt idx="1">
                  <c:v>12774315</c:v>
                </c:pt>
                <c:pt idx="2">
                  <c:v>2517046</c:v>
                </c:pt>
                <c:pt idx="3">
                  <c:v>1100140</c:v>
                </c:pt>
                <c:pt idx="4">
                  <c:v>70889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4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C35913-C23B-4E8E-AB37-2CD9A8678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5B9588-A493-43E1-B008-CBA308FDE0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494A04-ACDA-4BF9-848A-5FD81F1BA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7CAD0E-47B6-43B8-A3FC-AA2D3CFA3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54C0D4-D02C-4CAB-9CB8-A49FFA987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C1527E-7B0E-4951-A250-6DB300A81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06C1090-E731-4DF0-A666-E419EFC00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A940FF1-6E82-4D71-8214-5B26314DD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845</c:v>
                </c:pt>
                <c:pt idx="1">
                  <c:v>3.4908000000000001</c:v>
                </c:pt>
                <c:pt idx="2">
                  <c:v>3.0055999999999998</c:v>
                </c:pt>
                <c:pt idx="3">
                  <c:v>2.2181000000000002</c:v>
                </c:pt>
                <c:pt idx="4">
                  <c:v>2.7117</c:v>
                </c:pt>
                <c:pt idx="5">
                  <c:v>3.2094999999999998</c:v>
                </c:pt>
              </c:numCache>
            </c:numRef>
          </c:xVal>
          <c:yVal>
            <c:numRef>
              <c:f>Sheet1!$B$2:$B$7</c:f>
              <c:numCache>
                <c:formatCode>General</c:formatCode>
                <c:ptCount val="6"/>
                <c:pt idx="0">
                  <c:v>0.88900000000000001</c:v>
                </c:pt>
                <c:pt idx="1">
                  <c:v>1.431</c:v>
                </c:pt>
                <c:pt idx="2">
                  <c:v>1.1040000000000001</c:v>
                </c:pt>
                <c:pt idx="3">
                  <c:v>0.64400000000000002</c:v>
                </c:pt>
                <c:pt idx="4">
                  <c:v>1.952</c:v>
                </c:pt>
                <c:pt idx="5">
                  <c:v>1.4830000000000001</c:v>
                </c:pt>
              </c:numCache>
            </c:numRef>
          </c:yVal>
          <c:bubbleSize>
            <c:numRef>
              <c:f>Sheet1!$C$2:$C$7</c:f>
              <c:numCache>
                <c:formatCode>General</c:formatCode>
                <c:ptCount val="6"/>
                <c:pt idx="0">
                  <c:v>143118908</c:v>
                </c:pt>
                <c:pt idx="1">
                  <c:v>133719924</c:v>
                </c:pt>
                <c:pt idx="2">
                  <c:v>109186832</c:v>
                </c:pt>
                <c:pt idx="3">
                  <c:v>100313963</c:v>
                </c:pt>
                <c:pt idx="4">
                  <c:v>40963436</c:v>
                </c:pt>
                <c:pt idx="5">
                  <c:v>11176159</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DE6C9F-9182-4014-9D72-38ABA8C92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51A6FB-532A-4CDA-89F6-8928010BD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CD416F-0D40-4BC4-ADE7-E273D08AD5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E51889-4A00-4FA4-9772-39B6427F5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E72A47-B0FB-4288-907F-075060793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85F9C5-8BEA-4645-BF7A-95D54D9EE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12D3B36-C08D-4674-B235-B01B71201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954BAF-7783-42C7-888A-638412005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692000000000001</c:v>
                </c:pt>
                <c:pt idx="1">
                  <c:v>3.4565000000000001</c:v>
                </c:pt>
                <c:pt idx="2">
                  <c:v>2.9908000000000001</c:v>
                </c:pt>
                <c:pt idx="3">
                  <c:v>2.3189000000000002</c:v>
                </c:pt>
                <c:pt idx="4">
                  <c:v>2.8247</c:v>
                </c:pt>
                <c:pt idx="5">
                  <c:v>3.0139</c:v>
                </c:pt>
              </c:numCache>
            </c:numRef>
          </c:xVal>
          <c:yVal>
            <c:numRef>
              <c:f>Sheet1!$B$2:$B$7</c:f>
              <c:numCache>
                <c:formatCode>General</c:formatCode>
                <c:ptCount val="6"/>
                <c:pt idx="0">
                  <c:v>0.81499999999999995</c:v>
                </c:pt>
                <c:pt idx="1">
                  <c:v>1.363</c:v>
                </c:pt>
                <c:pt idx="2">
                  <c:v>1.036</c:v>
                </c:pt>
                <c:pt idx="3">
                  <c:v>0.69099999999999995</c:v>
                </c:pt>
                <c:pt idx="4">
                  <c:v>2.008</c:v>
                </c:pt>
                <c:pt idx="5">
                  <c:v>1.6180000000000001</c:v>
                </c:pt>
              </c:numCache>
            </c:numRef>
          </c:yVal>
          <c:bubbleSize>
            <c:numRef>
              <c:f>Sheet1!$C$2:$C$7</c:f>
              <c:numCache>
                <c:formatCode>General</c:formatCode>
                <c:ptCount val="6"/>
                <c:pt idx="0">
                  <c:v>30468308</c:v>
                </c:pt>
                <c:pt idx="1">
                  <c:v>22613796</c:v>
                </c:pt>
                <c:pt idx="2">
                  <c:v>21233281</c:v>
                </c:pt>
                <c:pt idx="3">
                  <c:v>10731593</c:v>
                </c:pt>
                <c:pt idx="4">
                  <c:v>8292955</c:v>
                </c:pt>
                <c:pt idx="5">
                  <c:v>2020643</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0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10C612-B026-4C58-9D49-265DC8CA1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F7480E-383B-43A1-923D-826186D10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536C50-F4CD-428D-9AA5-859DA3EFE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48EDC5-F343-4F65-8592-F91F1427B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32CA37-F077-4F57-B911-073042DE2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5A1B61-E084-47FA-89E0-854472766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64F3D0-FC57-474C-96C9-2352486662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0347D9E-B294-4517-89E7-1A243798A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3645999999999998</c:v>
                </c:pt>
                <c:pt idx="1">
                  <c:v>3.5409000000000002</c:v>
                </c:pt>
                <c:pt idx="2">
                  <c:v>3.1012</c:v>
                </c:pt>
                <c:pt idx="3">
                  <c:v>2.0585</c:v>
                </c:pt>
                <c:pt idx="4">
                  <c:v>2.7042000000000002</c:v>
                </c:pt>
                <c:pt idx="5">
                  <c:v>3.6595</c:v>
                </c:pt>
              </c:numCache>
            </c:numRef>
          </c:xVal>
          <c:yVal>
            <c:numRef>
              <c:f>Sheet1!$B$2:$B$7</c:f>
              <c:numCache>
                <c:formatCode>General</c:formatCode>
                <c:ptCount val="6"/>
                <c:pt idx="0">
                  <c:v>0.86699999999999999</c:v>
                </c:pt>
                <c:pt idx="1">
                  <c:v>1.371</c:v>
                </c:pt>
                <c:pt idx="2">
                  <c:v>1.073</c:v>
                </c:pt>
                <c:pt idx="3">
                  <c:v>0.64100000000000001</c:v>
                </c:pt>
                <c:pt idx="4">
                  <c:v>1.871</c:v>
                </c:pt>
                <c:pt idx="5">
                  <c:v>1.278</c:v>
                </c:pt>
              </c:numCache>
            </c:numRef>
          </c:yVal>
          <c:bubbleSize>
            <c:numRef>
              <c:f>Sheet1!$C$2:$C$7</c:f>
              <c:numCache>
                <c:formatCode>General</c:formatCode>
                <c:ptCount val="6"/>
                <c:pt idx="0">
                  <c:v>22557022</c:v>
                </c:pt>
                <c:pt idx="1">
                  <c:v>19313906</c:v>
                </c:pt>
                <c:pt idx="2">
                  <c:v>16396938</c:v>
                </c:pt>
                <c:pt idx="3">
                  <c:v>10594194</c:v>
                </c:pt>
                <c:pt idx="4">
                  <c:v>5799659</c:v>
                </c:pt>
                <c:pt idx="5">
                  <c:v>1522946</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E81107-916F-4114-B071-072283B35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B1E370-0D72-4EE4-AFDC-029F7B01B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E28BC1-4E8E-46B9-B798-C09F8216C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6D9153-E7DB-4027-BEBF-5027485FE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285EC0-890B-4743-98D1-3ACE405F0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B647C9-3345-47A8-B34B-5B1D2AB83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CFA339-40FE-4459-85A1-CA38C2A59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298824-FB0E-48FF-9F3E-38DB70696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56</c:v>
                </c:pt>
                <c:pt idx="1">
                  <c:v>1.5004999999999999</c:v>
                </c:pt>
                <c:pt idx="2">
                  <c:v>2.4567999999999999</c:v>
                </c:pt>
                <c:pt idx="3">
                  <c:v>2.2768000000000002</c:v>
                </c:pt>
                <c:pt idx="4">
                  <c:v>2.3458000000000001</c:v>
                </c:pt>
                <c:pt idx="5">
                  <c:v>2.4558</c:v>
                </c:pt>
                <c:pt idx="6">
                  <c:v>2.6151</c:v>
                </c:pt>
                <c:pt idx="7">
                  <c:v>1.7732000000000001</c:v>
                </c:pt>
              </c:numCache>
            </c:numRef>
          </c:xVal>
          <c:yVal>
            <c:numRef>
              <c:f>Sheet1!$B$2:$B$9</c:f>
              <c:numCache>
                <c:formatCode>General</c:formatCode>
                <c:ptCount val="8"/>
                <c:pt idx="0">
                  <c:v>1.1499999999999999</c:v>
                </c:pt>
                <c:pt idx="1">
                  <c:v>0.68899999999999995</c:v>
                </c:pt>
                <c:pt idx="2">
                  <c:v>1.0349999999999999</c:v>
                </c:pt>
                <c:pt idx="3">
                  <c:v>1.1140000000000001</c:v>
                </c:pt>
                <c:pt idx="4">
                  <c:v>1.3320000000000001</c:v>
                </c:pt>
                <c:pt idx="5">
                  <c:v>1.099</c:v>
                </c:pt>
                <c:pt idx="6">
                  <c:v>1.0780000000000001</c:v>
                </c:pt>
                <c:pt idx="7">
                  <c:v>1.222</c:v>
                </c:pt>
              </c:numCache>
            </c:numRef>
          </c:yVal>
          <c:bubbleSize>
            <c:numRef>
              <c:f>Sheet1!$C$2:$C$9</c:f>
              <c:numCache>
                <c:formatCode>General</c:formatCode>
                <c:ptCount val="8"/>
                <c:pt idx="0">
                  <c:v>188621011</c:v>
                </c:pt>
                <c:pt idx="1">
                  <c:v>139659774</c:v>
                </c:pt>
                <c:pt idx="2">
                  <c:v>89110867</c:v>
                </c:pt>
                <c:pt idx="3">
                  <c:v>74612015</c:v>
                </c:pt>
                <c:pt idx="4">
                  <c:v>69893459</c:v>
                </c:pt>
                <c:pt idx="5">
                  <c:v>40894571</c:v>
                </c:pt>
                <c:pt idx="6">
                  <c:v>30462743</c:v>
                </c:pt>
                <c:pt idx="7">
                  <c:v>10202099</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Philadelphia</c:v>
                  </c:pt>
                  <c:pt idx="7">
                    <c:v>Ronde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383115-1425-46C3-8C96-C29EF9075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A713DC-1EC7-428B-B159-DAEA8AD96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DE0EBE-537C-44BF-B5F7-1333D4CFD5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EF254D-A66B-4B00-9D72-58B40F4A9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B90F23-ADEB-45D0-BDE9-1934EC378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D105B5-EA45-40C7-A572-FFC1C0068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066A68A-519F-494A-A0FB-25E473A7D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747845-986B-4C8E-A26C-D7CA7277F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3.0144000000000002</c:v>
                </c:pt>
                <c:pt idx="1">
                  <c:v>1.6611</c:v>
                </c:pt>
                <c:pt idx="2">
                  <c:v>2.5226999999999999</c:v>
                </c:pt>
                <c:pt idx="3">
                  <c:v>2.3923999999999999</c:v>
                </c:pt>
                <c:pt idx="4">
                  <c:v>2.4001999999999999</c:v>
                </c:pt>
                <c:pt idx="5">
                  <c:v>2.4596</c:v>
                </c:pt>
                <c:pt idx="6">
                  <c:v>2.7534999999999998</c:v>
                </c:pt>
                <c:pt idx="7">
                  <c:v>2.6608000000000001</c:v>
                </c:pt>
                <c:pt idx="8">
                  <c:v>1.7701</c:v>
                </c:pt>
              </c:numCache>
            </c:numRef>
          </c:xVal>
          <c:yVal>
            <c:numRef>
              <c:f>Sheet1!$B$2:$B$10</c:f>
              <c:numCache>
                <c:formatCode>General</c:formatCode>
                <c:ptCount val="9"/>
                <c:pt idx="0">
                  <c:v>1.131</c:v>
                </c:pt>
                <c:pt idx="1">
                  <c:v>0.69099999999999995</c:v>
                </c:pt>
                <c:pt idx="2">
                  <c:v>0.98699999999999999</c:v>
                </c:pt>
                <c:pt idx="3">
                  <c:v>1.0880000000000001</c:v>
                </c:pt>
                <c:pt idx="4">
                  <c:v>1.2669999999999999</c:v>
                </c:pt>
                <c:pt idx="5">
                  <c:v>1.0169999999999999</c:v>
                </c:pt>
                <c:pt idx="6">
                  <c:v>1.0469999999999999</c:v>
                </c:pt>
                <c:pt idx="7">
                  <c:v>1.4339999999999999</c:v>
                </c:pt>
                <c:pt idx="8">
                  <c:v>1.175</c:v>
                </c:pt>
              </c:numCache>
            </c:numRef>
          </c:yVal>
          <c:bubbleSize>
            <c:numRef>
              <c:f>Sheet1!$C$2:$C$10</c:f>
              <c:numCache>
                <c:formatCode>General</c:formatCode>
                <c:ptCount val="9"/>
                <c:pt idx="0">
                  <c:v>30956719</c:v>
                </c:pt>
                <c:pt idx="1">
                  <c:v>16850297</c:v>
                </c:pt>
                <c:pt idx="2">
                  <c:v>16088426</c:v>
                </c:pt>
                <c:pt idx="3">
                  <c:v>12545434</c:v>
                </c:pt>
                <c:pt idx="4">
                  <c:v>12208672</c:v>
                </c:pt>
                <c:pt idx="5">
                  <c:v>8124232</c:v>
                </c:pt>
                <c:pt idx="6">
                  <c:v>8119796</c:v>
                </c:pt>
                <c:pt idx="7">
                  <c:v>1583106</c:v>
                </c:pt>
                <c:pt idx="8">
                  <c:v>1509711</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Philadelphia</c:v>
                  </c:pt>
                  <c:pt idx="7">
                    <c:v>Kiri</c:v>
                  </c:pt>
                  <c:pt idx="8">
                    <c:v>Ronde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3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462162-59BD-4D95-9D47-4C449D5E6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F836EF-3E67-48E7-8289-2A397A097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4D8B4C-B1B1-4D88-9786-320CF7EB5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D62713-B898-45F9-AD4B-DE018CE26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D42A66-39E3-4EF6-8C27-617AE942B4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C7A2D5A-9F93-4B0D-AD14-553D9394D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B34391-8CCD-4442-BB53-007D7AAD7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E195D36-F837-4E45-9C4B-D1296809A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500999999999999</c:v>
                </c:pt>
                <c:pt idx="1">
                  <c:v>1.4523999999999999</c:v>
                </c:pt>
                <c:pt idx="2">
                  <c:v>2.4236</c:v>
                </c:pt>
                <c:pt idx="3">
                  <c:v>2.4525000000000001</c:v>
                </c:pt>
                <c:pt idx="4">
                  <c:v>2.3136999999999999</c:v>
                </c:pt>
                <c:pt idx="5">
                  <c:v>2.4967000000000001</c:v>
                </c:pt>
                <c:pt idx="6">
                  <c:v>2.4449999999999998</c:v>
                </c:pt>
              </c:numCache>
            </c:numRef>
          </c:xVal>
          <c:yVal>
            <c:numRef>
              <c:f>Sheet1!$B$2:$B$8</c:f>
              <c:numCache>
                <c:formatCode>General</c:formatCode>
                <c:ptCount val="7"/>
                <c:pt idx="0">
                  <c:v>1.0820000000000001</c:v>
                </c:pt>
                <c:pt idx="1">
                  <c:v>0.67800000000000005</c:v>
                </c:pt>
                <c:pt idx="2">
                  <c:v>1.276</c:v>
                </c:pt>
                <c:pt idx="3">
                  <c:v>0.97599999999999998</c:v>
                </c:pt>
                <c:pt idx="4">
                  <c:v>1.087</c:v>
                </c:pt>
                <c:pt idx="5">
                  <c:v>1.0640000000000001</c:v>
                </c:pt>
                <c:pt idx="6">
                  <c:v>0.96699999999999997</c:v>
                </c:pt>
              </c:numCache>
            </c:numRef>
          </c:yVal>
          <c:bubbleSize>
            <c:numRef>
              <c:f>Sheet1!$C$2:$C$8</c:f>
              <c:numCache>
                <c:formatCode>General</c:formatCode>
                <c:ptCount val="7"/>
                <c:pt idx="0">
                  <c:v>30253337</c:v>
                </c:pt>
                <c:pt idx="1">
                  <c:v>14481315</c:v>
                </c:pt>
                <c:pt idx="2">
                  <c:v>14007524</c:v>
                </c:pt>
                <c:pt idx="3">
                  <c:v>12109563</c:v>
                </c:pt>
                <c:pt idx="4">
                  <c:v>11825696</c:v>
                </c:pt>
                <c:pt idx="5">
                  <c:v>5828870</c:v>
                </c:pt>
                <c:pt idx="6">
                  <c:v>3949392</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Boursin</c:v>
                  </c:pt>
                  <c:pt idx="3">
                    <c:v>Paysan Breton</c:v>
                  </c:pt>
                  <c:pt idx="4">
                    <c:v>Tartare</c:v>
                  </c:pt>
                  <c:pt idx="5">
                    <c:v>Carre Frais</c:v>
                  </c:pt>
                  <c:pt idx="6">
                    <c:v>Philadelph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FDD2F5-2708-4089-AC92-B922BA045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72D07F-1C9D-4DBC-81DD-5ED8E8879D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35EB56-E265-4922-A373-0942B8D29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0F01C4-AB9B-40B0-A140-5C1D2D4A4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6F6440-D72C-4009-817F-71BE809AA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915FC1-73E0-4A7D-91A0-BA1076493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95B7CE-5F3F-4CA7-B5A2-3EBB8DD37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062D610-FD6F-4EDB-AC41-6CD5DBBE9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124000000000001</c:v>
                </c:pt>
                <c:pt idx="1">
                  <c:v>2.2103999999999999</c:v>
                </c:pt>
                <c:pt idx="2">
                  <c:v>2.1956000000000002</c:v>
                </c:pt>
                <c:pt idx="3">
                  <c:v>2.9782000000000002</c:v>
                </c:pt>
                <c:pt idx="4">
                  <c:v>2.7964000000000002</c:v>
                </c:pt>
                <c:pt idx="5">
                  <c:v>2.2454000000000001</c:v>
                </c:pt>
              </c:numCache>
            </c:numRef>
          </c:xVal>
          <c:yVal>
            <c:numRef>
              <c:f>Sheet1!$B$2:$B$7</c:f>
              <c:numCache>
                <c:formatCode>General</c:formatCode>
                <c:ptCount val="6"/>
                <c:pt idx="0">
                  <c:v>0.91200000000000003</c:v>
                </c:pt>
                <c:pt idx="1">
                  <c:v>1.0169999999999999</c:v>
                </c:pt>
                <c:pt idx="2">
                  <c:v>1.1639999999999999</c:v>
                </c:pt>
                <c:pt idx="3">
                  <c:v>1.1000000000000001</c:v>
                </c:pt>
                <c:pt idx="4">
                  <c:v>1.5089999999999999</c:v>
                </c:pt>
                <c:pt idx="5">
                  <c:v>1.5149999999999999</c:v>
                </c:pt>
              </c:numCache>
            </c:numRef>
          </c:yVal>
          <c:bubbleSize>
            <c:numRef>
              <c:f>Sheet1!$C$2:$C$7</c:f>
              <c:numCache>
                <c:formatCode>General</c:formatCode>
                <c:ptCount val="6"/>
                <c:pt idx="0">
                  <c:v>648086880</c:v>
                </c:pt>
                <c:pt idx="1">
                  <c:v>128025062</c:v>
                </c:pt>
                <c:pt idx="2">
                  <c:v>80048487</c:v>
                </c:pt>
                <c:pt idx="3">
                  <c:v>67882460</c:v>
                </c:pt>
                <c:pt idx="4">
                  <c:v>18235670</c:v>
                </c:pt>
                <c:pt idx="5">
                  <c:v>1187022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B82A3F-F579-40D3-ADBA-91E81132A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08D4EB-EEE1-4BE3-8038-5F7BE3657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E509FB-8E15-445A-B896-9ACF74306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6A5631-686A-4152-B8C6-FEB40ED7E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1B18B8-262D-454D-AD05-A5A0C12BD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6C2A3F-000D-4C6D-908F-0CF997E6C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754C45-94C8-404F-AFD5-070F8A3F0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506490-D400-4E0B-92E6-85D0E6C80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306999999999999</c:v>
                </c:pt>
                <c:pt idx="1">
                  <c:v>2.5705</c:v>
                </c:pt>
                <c:pt idx="2">
                  <c:v>2.8330000000000002</c:v>
                </c:pt>
                <c:pt idx="3">
                  <c:v>3.2755999999999998</c:v>
                </c:pt>
                <c:pt idx="4">
                  <c:v>2.9988999999999999</c:v>
                </c:pt>
                <c:pt idx="5">
                  <c:v>3.1339999999999999</c:v>
                </c:pt>
                <c:pt idx="6">
                  <c:v>2.4619</c:v>
                </c:pt>
                <c:pt idx="7">
                  <c:v>3.7854999999999999</c:v>
                </c:pt>
                <c:pt idx="8">
                  <c:v>3.2589000000000001</c:v>
                </c:pt>
              </c:numCache>
            </c:numRef>
          </c:xVal>
          <c:yVal>
            <c:numRef>
              <c:f>Sheet1!$B$2:$B$10</c:f>
              <c:numCache>
                <c:formatCode>General</c:formatCode>
                <c:ptCount val="9"/>
                <c:pt idx="0">
                  <c:v>0.88300000000000001</c:v>
                </c:pt>
                <c:pt idx="1">
                  <c:v>0.82199999999999995</c:v>
                </c:pt>
                <c:pt idx="2">
                  <c:v>1.0469999999999999</c:v>
                </c:pt>
                <c:pt idx="3">
                  <c:v>1.113</c:v>
                </c:pt>
                <c:pt idx="4">
                  <c:v>1.1220000000000001</c:v>
                </c:pt>
                <c:pt idx="5">
                  <c:v>0.77400000000000002</c:v>
                </c:pt>
                <c:pt idx="6">
                  <c:v>0.67400000000000004</c:v>
                </c:pt>
                <c:pt idx="7">
                  <c:v>1.4590000000000001</c:v>
                </c:pt>
                <c:pt idx="8">
                  <c:v>1.2</c:v>
                </c:pt>
              </c:numCache>
            </c:numRef>
          </c:yVal>
          <c:bubbleSize>
            <c:numRef>
              <c:f>Sheet1!$C$2:$C$10</c:f>
              <c:numCache>
                <c:formatCode>General</c:formatCode>
                <c:ptCount val="9"/>
                <c:pt idx="0">
                  <c:v>498218809</c:v>
                </c:pt>
                <c:pt idx="1">
                  <c:v>67782408</c:v>
                </c:pt>
                <c:pt idx="2">
                  <c:v>36346839</c:v>
                </c:pt>
                <c:pt idx="3">
                  <c:v>32529804</c:v>
                </c:pt>
                <c:pt idx="4">
                  <c:v>32178133</c:v>
                </c:pt>
                <c:pt idx="5">
                  <c:v>32133765</c:v>
                </c:pt>
                <c:pt idx="6">
                  <c:v>25755857</c:v>
                </c:pt>
                <c:pt idx="7">
                  <c:v>23637907</c:v>
                </c:pt>
                <c:pt idx="8">
                  <c:v>23381012</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Coeur De Lion</c:v>
                  </c:pt>
                  <c:pt idx="7">
                    <c:v>Apericube</c:v>
                  </c:pt>
                  <c:pt idx="8">
                    <c:v>Entremon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3F8DAA-CD0B-416C-94E0-D9EE09FE6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17B23E-5FD7-4235-9C15-F3D60B6BE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7B75E6-0069-4FA1-861D-BC989E25D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BEA6BC-0AD0-4EBA-ABC9-B6E37A37F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5FF883-9D38-4813-A944-23CC5CB9C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7DCC8AA-8980-4E52-A190-108A9B30D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D20C77E-BE6C-412C-9E54-FC92070EC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2C4EFB-3CF1-45A3-A102-E1F92712A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006</c:v>
                </c:pt>
                <c:pt idx="1">
                  <c:v>2.1936</c:v>
                </c:pt>
                <c:pt idx="2">
                  <c:v>2.3405</c:v>
                </c:pt>
                <c:pt idx="3">
                  <c:v>3.0482</c:v>
                </c:pt>
                <c:pt idx="4">
                  <c:v>2.7654000000000001</c:v>
                </c:pt>
                <c:pt idx="5">
                  <c:v>2.2364000000000002</c:v>
                </c:pt>
              </c:numCache>
            </c:numRef>
          </c:xVal>
          <c:yVal>
            <c:numRef>
              <c:f>Sheet1!$B$2:$B$7</c:f>
              <c:numCache>
                <c:formatCode>General</c:formatCode>
                <c:ptCount val="6"/>
                <c:pt idx="0">
                  <c:v>0.91800000000000004</c:v>
                </c:pt>
                <c:pt idx="1">
                  <c:v>0.94699999999999995</c:v>
                </c:pt>
                <c:pt idx="2">
                  <c:v>1.149</c:v>
                </c:pt>
                <c:pt idx="3">
                  <c:v>1.032</c:v>
                </c:pt>
                <c:pt idx="4">
                  <c:v>1.3859999999999999</c:v>
                </c:pt>
                <c:pt idx="5">
                  <c:v>1.403</c:v>
                </c:pt>
              </c:numCache>
            </c:numRef>
          </c:yVal>
          <c:bubbleSize>
            <c:numRef>
              <c:f>Sheet1!$C$2:$C$7</c:f>
              <c:numCache>
                <c:formatCode>General</c:formatCode>
                <c:ptCount val="6"/>
                <c:pt idx="0">
                  <c:v>111360239</c:v>
                </c:pt>
                <c:pt idx="1">
                  <c:v>19606463</c:v>
                </c:pt>
                <c:pt idx="2">
                  <c:v>15221952</c:v>
                </c:pt>
                <c:pt idx="3">
                  <c:v>12937123</c:v>
                </c:pt>
                <c:pt idx="4">
                  <c:v>3699783</c:v>
                </c:pt>
                <c:pt idx="5">
                  <c:v>31968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14D19D-1DAC-44FD-8DD4-D7FF4D0ED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E8C645-C6F5-401F-BD04-911D573E0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D9CDAF-44A4-4AA7-9CFA-702DE1D74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86E8DE-36E6-46DA-84F7-F186D39A5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C4F521-7361-4860-8D67-ACD470207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2D80C1-9485-4F5A-9B11-1E3CB556D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8048F4D-2719-41C9-9CE5-64C9CFE54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C938EC-4E8C-42CF-A6A3-3D31E4B1A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8496999999999999</c:v>
                </c:pt>
                <c:pt idx="1">
                  <c:v>2.2946</c:v>
                </c:pt>
                <c:pt idx="2">
                  <c:v>2.9693999999999998</c:v>
                </c:pt>
                <c:pt idx="3">
                  <c:v>2.3797000000000001</c:v>
                </c:pt>
                <c:pt idx="4">
                  <c:v>2.8961999999999999</c:v>
                </c:pt>
                <c:pt idx="5">
                  <c:v>2.3374000000000001</c:v>
                </c:pt>
              </c:numCache>
            </c:numRef>
          </c:xVal>
          <c:yVal>
            <c:numRef>
              <c:f>Sheet1!$B$2:$B$7</c:f>
              <c:numCache>
                <c:formatCode>General</c:formatCode>
                <c:ptCount val="6"/>
                <c:pt idx="0">
                  <c:v>0.89100000000000001</c:v>
                </c:pt>
                <c:pt idx="1">
                  <c:v>1.087</c:v>
                </c:pt>
                <c:pt idx="2">
                  <c:v>1.121</c:v>
                </c:pt>
                <c:pt idx="3">
                  <c:v>1.2410000000000001</c:v>
                </c:pt>
                <c:pt idx="4">
                  <c:v>1.6279999999999999</c:v>
                </c:pt>
                <c:pt idx="5">
                  <c:v>1.645</c:v>
                </c:pt>
              </c:numCache>
            </c:numRef>
          </c:yVal>
          <c:bubbleSize>
            <c:numRef>
              <c:f>Sheet1!$C$2:$C$7</c:f>
              <c:numCache>
                <c:formatCode>General</c:formatCode>
                <c:ptCount val="6"/>
                <c:pt idx="0">
                  <c:v>70217825</c:v>
                </c:pt>
                <c:pt idx="1">
                  <c:v>23364293</c:v>
                </c:pt>
                <c:pt idx="2">
                  <c:v>10441025</c:v>
                </c:pt>
                <c:pt idx="3">
                  <c:v>7314596</c:v>
                </c:pt>
                <c:pt idx="4">
                  <c:v>2904193</c:v>
                </c:pt>
                <c:pt idx="5">
                  <c:v>1794318</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All Others</c:v>
                </c:pt>
                <c:pt idx="2">
                  <c:v>President</c:v>
                </c:pt>
                <c:pt idx="3">
                  <c:v>Caprice Des Dieux</c:v>
                </c:pt>
              </c:strCache>
            </c:strRef>
          </c:cat>
          <c:val>
            <c:numRef>
              <c:f>Sheet1!$B$2:$B$5</c:f>
              <c:numCache>
                <c:formatCode>General</c:formatCode>
                <c:ptCount val="4"/>
                <c:pt idx="0">
                  <c:v>1.7204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C$2:$C$5</c:f>
              <c:numCache>
                <c:formatCode>General</c:formatCode>
                <c:ptCount val="4"/>
                <c:pt idx="0">
                  <c:v>1.33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D$2:$D$5</c:f>
              <c:numCache>
                <c:formatCode>General</c:formatCode>
                <c:ptCount val="4"/>
                <c:pt idx="0">
                  <c:v>1.8781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E$2:$E$5</c:f>
              <c:numCache>
                <c:formatCode>General</c:formatCode>
                <c:ptCount val="4"/>
                <c:pt idx="0">
                  <c:v>2.142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F$2:$F$5</c:f>
              <c:numCache>
                <c:formatCode>General</c:formatCode>
                <c:ptCount val="4"/>
                <c:pt idx="0">
                  <c:v>2.1309999999999998</c:v>
                </c:pt>
                <c:pt idx="1">
                  <c:v>3.3942000000000001</c:v>
                </c:pt>
                <c:pt idx="2">
                  <c:v>2.3361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All Others</c:v>
                </c:pt>
                <c:pt idx="2">
                  <c:v>President</c:v>
                </c:pt>
                <c:pt idx="3">
                  <c:v>Caprice Des Dieux</c:v>
                </c:pt>
              </c:strCache>
            </c:strRef>
          </c:cat>
          <c:val>
            <c:numRef>
              <c:f>Sheet1!$G$2:$G$5</c:f>
              <c:numCache>
                <c:formatCode>General</c:formatCode>
                <c:ptCount val="4"/>
                <c:pt idx="0">
                  <c:v>2.3026</c:v>
                </c:pt>
                <c:pt idx="1">
                  <c:v>3.1833</c:v>
                </c:pt>
                <c:pt idx="2">
                  <c:v>2.155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All Others</c:v>
                </c:pt>
                <c:pt idx="2">
                  <c:v>President</c:v>
                </c:pt>
                <c:pt idx="3">
                  <c:v>Caprice Des Dieux</c:v>
                </c:pt>
              </c:strCache>
            </c:strRef>
          </c:cat>
          <c:val>
            <c:numRef>
              <c:f>Sheet1!$H$2:$H$5</c:f>
              <c:numCache>
                <c:formatCode>General</c:formatCode>
                <c:ptCount val="4"/>
                <c:pt idx="0">
                  <c:v>2.4807999999999999</c:v>
                </c:pt>
                <c:pt idx="3">
                  <c:v>3.501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I$2:$I$5</c:f>
              <c:numCache>
                <c:formatCode>General</c:formatCode>
                <c:ptCount val="4"/>
                <c:pt idx="0">
                  <c:v>2.73430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All Others</c:v>
                </c:pt>
                <c:pt idx="2">
                  <c:v>President</c:v>
                </c:pt>
                <c:pt idx="3">
                  <c:v>Caprice Des Dieux</c:v>
                </c:pt>
              </c:strCache>
            </c:strRef>
          </c:cat>
          <c:val>
            <c:numRef>
              <c:f>Sheet1!$J$2:$J$5</c:f>
              <c:numCache>
                <c:formatCode>General</c:formatCode>
                <c:ptCount val="4"/>
                <c:pt idx="0">
                  <c:v>3.550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K$2:$K$5</c:f>
              <c:numCache>
                <c:formatCode>General</c:formatCode>
                <c:ptCount val="4"/>
                <c:pt idx="0">
                  <c:v>3.89239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All Others</c:v>
                </c:pt>
                <c:pt idx="2">
                  <c:v>President</c:v>
                </c:pt>
                <c:pt idx="3">
                  <c:v>Caprice Des Dieux</c:v>
                </c:pt>
              </c:strCache>
            </c:strRef>
          </c:cat>
          <c:val>
            <c:numRef>
              <c:f>Sheet1!$L$2:$L$5</c:f>
              <c:numCache>
                <c:formatCode>General</c:formatCode>
                <c:ptCount val="4"/>
                <c:pt idx="0">
                  <c:v>1.9267000000000001</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B$2:$B$7</c:f>
              <c:numCache>
                <c:formatCode>General</c:formatCode>
                <c:ptCount val="6"/>
                <c:pt idx="0">
                  <c:v>1.7988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C$2:$C$7</c:f>
              <c:numCache>
                <c:formatCode>General</c:formatCode>
                <c:ptCount val="6"/>
                <c:pt idx="0">
                  <c:v>1.41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D$2:$D$7</c:f>
              <c:numCache>
                <c:formatCode>General</c:formatCode>
                <c:ptCount val="6"/>
                <c:pt idx="0">
                  <c:v>2.1440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E$2:$E$7</c:f>
              <c:numCache>
                <c:formatCode>General</c:formatCode>
                <c:ptCount val="6"/>
                <c:pt idx="0">
                  <c:v>2.2515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F$2:$F$7</c:f>
              <c:numCache>
                <c:formatCode>General</c:formatCode>
                <c:ptCount val="6"/>
                <c:pt idx="0">
                  <c:v>2.2938999999999998</c:v>
                </c:pt>
                <c:pt idx="1">
                  <c:v>3.5381999999999998</c:v>
                </c:pt>
                <c:pt idx="2">
                  <c:v>2.3380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G$2:$G$7</c:f>
              <c:numCache>
                <c:formatCode>General</c:formatCode>
                <c:ptCount val="6"/>
                <c:pt idx="0">
                  <c:v>2.5775999999999999</c:v>
                </c:pt>
                <c:pt idx="1">
                  <c:v>3.4727999999999999</c:v>
                </c:pt>
                <c:pt idx="2">
                  <c:v>2.2027999999999999</c:v>
                </c:pt>
                <c:pt idx="5">
                  <c:v>4.4252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H$2:$H$7</c:f>
              <c:numCache>
                <c:formatCode>General</c:formatCode>
                <c:ptCount val="6"/>
                <c:pt idx="0">
                  <c:v>2.4759000000000002</c:v>
                </c:pt>
                <c:pt idx="3">
                  <c:v>3.517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I$2:$I$7</c:f>
              <c:numCache>
                <c:formatCode>General</c:formatCode>
                <c:ptCount val="6"/>
                <c:pt idx="0">
                  <c:v>2.619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J$2:$J$7</c:f>
              <c:numCache>
                <c:formatCode>General</c:formatCode>
                <c:ptCount val="6"/>
                <c:pt idx="0">
                  <c:v>3.82359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K$2:$K$7</c:f>
              <c:numCache>
                <c:formatCode>General</c:formatCode>
                <c:ptCount val="6"/>
                <c:pt idx="0">
                  <c:v>3.9592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1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All Others</c:v>
                </c:pt>
                <c:pt idx="2">
                  <c:v>President</c:v>
                </c:pt>
                <c:pt idx="3">
                  <c:v>Caprice Des Dieux</c:v>
                </c:pt>
                <c:pt idx="4">
                  <c:v>La Vache Qui Rit</c:v>
                </c:pt>
                <c:pt idx="5">
                  <c:v>Apericube</c:v>
                </c:pt>
              </c:strCache>
            </c:strRef>
          </c:cat>
          <c:val>
            <c:numRef>
              <c:f>Sheet1!$L$2:$L$7</c:f>
              <c:numCache>
                <c:formatCode>General</c:formatCode>
                <c:ptCount val="6"/>
                <c:pt idx="4">
                  <c:v>3.9066000000000001</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President</c:v>
                </c:pt>
                <c:pt idx="2">
                  <c:v>Entremont</c:v>
                </c:pt>
                <c:pt idx="3">
                  <c:v>Caprice Des Dieux</c:v>
                </c:pt>
              </c:strCache>
            </c:strRef>
          </c:cat>
          <c:val>
            <c:numRef>
              <c:f>Sheet1!$B$2:$B$5</c:f>
              <c:numCache>
                <c:formatCode>General</c:formatCode>
                <c:ptCount val="4"/>
                <c:pt idx="0">
                  <c:v>1.5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C$2:$C$5</c:f>
              <c:numCache>
                <c:formatCode>General</c:formatCode>
                <c:ptCount val="4"/>
                <c:pt idx="0">
                  <c:v>8.03260000000000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D$2:$D$5</c:f>
              <c:numCache>
                <c:formatCode>General</c:formatCode>
                <c:ptCount val="4"/>
                <c:pt idx="0">
                  <c:v>1.3337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E$2:$E$5</c:f>
              <c:numCache>
                <c:formatCode>General</c:formatCode>
                <c:ptCount val="4"/>
                <c:pt idx="0">
                  <c:v>1.86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F$2:$F$5</c:f>
              <c:numCache>
                <c:formatCode>General</c:formatCode>
                <c:ptCount val="4"/>
                <c:pt idx="0">
                  <c:v>2.0649999999999999</c:v>
                </c:pt>
                <c:pt idx="1">
                  <c:v>2.3121999999999998</c:v>
                </c:pt>
                <c:pt idx="2">
                  <c:v>3.3656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President</c:v>
                </c:pt>
                <c:pt idx="2">
                  <c:v>Entremont</c:v>
                </c:pt>
                <c:pt idx="3">
                  <c:v>Caprice Des Dieux</c:v>
                </c:pt>
              </c:strCache>
            </c:strRef>
          </c:cat>
          <c:val>
            <c:numRef>
              <c:f>Sheet1!$G$2:$G$5</c:f>
              <c:numCache>
                <c:formatCode>General</c:formatCode>
                <c:ptCount val="4"/>
                <c:pt idx="0">
                  <c:v>2.1406000000000001</c:v>
                </c:pt>
                <c:pt idx="1">
                  <c:v>2.2989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President</c:v>
                </c:pt>
                <c:pt idx="2">
                  <c:v>Entremont</c:v>
                </c:pt>
                <c:pt idx="3">
                  <c:v>Caprice Des Dieux</c:v>
                </c:pt>
              </c:strCache>
            </c:strRef>
          </c:cat>
          <c:val>
            <c:numRef>
              <c:f>Sheet1!$H$2:$H$5</c:f>
              <c:numCache>
                <c:formatCode>General</c:formatCode>
                <c:ptCount val="4"/>
                <c:pt idx="0">
                  <c:v>2.6758000000000002</c:v>
                </c:pt>
                <c:pt idx="3">
                  <c:v>3.7035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I$2:$I$5</c:f>
              <c:numCache>
                <c:formatCode>General</c:formatCode>
                <c:ptCount val="4"/>
                <c:pt idx="0">
                  <c:v>3.1276000000000002</c:v>
                </c:pt>
                <c:pt idx="1">
                  <c:v>3.24929999999999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Private Label</c:v>
                </c:pt>
                <c:pt idx="1">
                  <c:v>President</c:v>
                </c:pt>
                <c:pt idx="2">
                  <c:v>Entremont</c:v>
                </c:pt>
                <c:pt idx="3">
                  <c:v>Caprice Des Dieux</c:v>
                </c:pt>
              </c:strCache>
            </c:strRef>
          </c:cat>
          <c:val>
            <c:numRef>
              <c:f>Sheet1!$J$2:$J$5</c:f>
              <c:numCache>
                <c:formatCode>General</c:formatCode>
                <c:ptCount val="4"/>
                <c:pt idx="0">
                  <c:v>4.0034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K$2:$K$5</c:f>
              <c:numCache>
                <c:formatCode>General</c:formatCode>
                <c:ptCount val="4"/>
                <c:pt idx="0">
                  <c:v>3.849000000000000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Private Label</c:v>
                </c:pt>
                <c:pt idx="1">
                  <c:v>President</c:v>
                </c:pt>
                <c:pt idx="2">
                  <c:v>Entremont</c:v>
                </c:pt>
                <c:pt idx="3">
                  <c:v>Caprice Des Dieux</c:v>
                </c:pt>
              </c:strCache>
            </c:strRef>
          </c:cat>
          <c:val>
            <c:numRef>
              <c:f>Sheet1!$L$2:$L$5</c:f>
              <c:numCache>
                <c:formatCode>General</c:formatCode>
                <c:ptCount val="4"/>
                <c:pt idx="0">
                  <c:v>1.900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B$2:$B$10</c:f>
              <c:numCache>
                <c:formatCode>General</c:formatCode>
                <c:ptCount val="9"/>
                <c:pt idx="0">
                  <c:v>2.1682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C$2:$C$10</c:f>
              <c:numCache>
                <c:formatCode>General</c:formatCode>
                <c:ptCount val="9"/>
                <c:pt idx="0">
                  <c:v>1.3113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D$2:$D$10</c:f>
              <c:numCache>
                <c:formatCode>General</c:formatCode>
                <c:ptCount val="9"/>
                <c:pt idx="0">
                  <c:v>1.7788999999999999</c:v>
                </c:pt>
                <c:pt idx="4">
                  <c:v>2.33219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E$2:$E$10</c:f>
              <c:numCache>
                <c:formatCode>General</c:formatCode>
                <c:ptCount val="9"/>
                <c:pt idx="0">
                  <c:v>2.1044999999999998</c:v>
                </c:pt>
                <c:pt idx="3">
                  <c:v>2.64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F$2:$F$10</c:f>
              <c:numCache>
                <c:formatCode>General</c:formatCode>
                <c:ptCount val="9"/>
                <c:pt idx="0">
                  <c:v>2.3249</c:v>
                </c:pt>
                <c:pt idx="3">
                  <c:v>2.2473000000000001</c:v>
                </c:pt>
                <c:pt idx="5">
                  <c:v>3.0304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G$2:$G$10</c:f>
              <c:numCache>
                <c:formatCode>General</c:formatCode>
                <c:ptCount val="9"/>
                <c:pt idx="0">
                  <c:v>2.0733999999999999</c:v>
                </c:pt>
                <c:pt idx="1">
                  <c:v>3.1078999999999999</c:v>
                </c:pt>
                <c:pt idx="2">
                  <c:v>2.0386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6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H$2:$H$10</c:f>
              <c:numCache>
                <c:formatCode>General</c:formatCode>
                <c:ptCount val="9"/>
                <c:pt idx="8">
                  <c:v>4.1581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I$2:$I$10</c:f>
              <c:numCache>
                <c:formatCode>General</c:formatCode>
                <c:ptCount val="9"/>
                <c:pt idx="0">
                  <c:v>2.3258000000000001</c:v>
                </c:pt>
                <c:pt idx="4">
                  <c:v>3.5305</c:v>
                </c:pt>
                <c:pt idx="5">
                  <c:v>3.501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J$2:$J$10</c:f>
              <c:numCache>
                <c:formatCode>General</c:formatCode>
                <c:ptCount val="9"/>
                <c:pt idx="0">
                  <c:v>2.2444000000000002</c:v>
                </c:pt>
                <c:pt idx="6">
                  <c:v>2.70619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K$2:$K$10</c:f>
              <c:numCache>
                <c:formatCode>General</c:formatCode>
                <c:ptCount val="9"/>
                <c:pt idx="0">
                  <c:v>2.9028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L$2:$L$10</c:f>
              <c:numCache>
                <c:formatCode>General</c:formatCode>
                <c:ptCount val="9"/>
                <c:pt idx="0">
                  <c:v>3.736400000000000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12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M$2:$M$10</c:f>
              <c:numCache>
                <c:formatCode>General</c:formatCode>
                <c:ptCount val="9"/>
                <c:pt idx="7">
                  <c:v>4.2690000000000001</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B$2:$B$9</c:f>
              <c:numCache>
                <c:formatCode>General</c:formatCode>
                <c:ptCount val="8"/>
                <c:pt idx="0">
                  <c:v>2.3593000000000002</c:v>
                </c:pt>
                <c:pt idx="1">
                  <c:v>2.84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C$2:$C$9</c:f>
              <c:numCache>
                <c:formatCode>General</c:formatCode>
                <c:ptCount val="8"/>
                <c:pt idx="0">
                  <c:v>1.3940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D$2:$D$9</c:f>
              <c:numCache>
                <c:formatCode>General</c:formatCode>
                <c:ptCount val="8"/>
                <c:pt idx="0">
                  <c:v>2.0529000000000002</c:v>
                </c:pt>
                <c:pt idx="5">
                  <c:v>2.50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E$2:$E$9</c:f>
              <c:numCache>
                <c:formatCode>General</c:formatCode>
                <c:ptCount val="8"/>
                <c:pt idx="0">
                  <c:v>2.2012</c:v>
                </c:pt>
                <c:pt idx="3">
                  <c:v>2.7412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F$2:$F$9</c:f>
              <c:numCache>
                <c:formatCode>General</c:formatCode>
                <c:ptCount val="8"/>
                <c:pt idx="0">
                  <c:v>2.5657000000000001</c:v>
                </c:pt>
                <c:pt idx="1">
                  <c:v>3.7974999999999999</c:v>
                </c:pt>
                <c:pt idx="3">
                  <c:v>2.4201999999999999</c:v>
                </c:pt>
                <c:pt idx="4">
                  <c:v>3.2183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G$2:$G$9</c:f>
              <c:numCache>
                <c:formatCode>General</c:formatCode>
                <c:ptCount val="8"/>
                <c:pt idx="0">
                  <c:v>2.2867000000000002</c:v>
                </c:pt>
                <c:pt idx="1">
                  <c:v>3.4182999999999999</c:v>
                </c:pt>
                <c:pt idx="2">
                  <c:v>2.073700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H$2:$H$9</c:f>
              <c:numCache>
                <c:formatCode>General</c:formatCode>
                <c:ptCount val="8"/>
                <c:pt idx="0">
                  <c:v>2.3174999999999999</c:v>
                </c:pt>
                <c:pt idx="4">
                  <c:v>3.517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I$2:$I$9</c:f>
              <c:numCache>
                <c:formatCode>General</c:formatCode>
                <c:ptCount val="8"/>
                <c:pt idx="0">
                  <c:v>2.2848000000000002</c:v>
                </c:pt>
                <c:pt idx="2">
                  <c:v>2.8197000000000001</c:v>
                </c:pt>
                <c:pt idx="7">
                  <c:v>2.90330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J$2:$J$9</c:f>
              <c:numCache>
                <c:formatCode>General</c:formatCode>
                <c:ptCount val="8"/>
                <c:pt idx="0">
                  <c:v>2.735399999999999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K$2:$K$9</c:f>
              <c:numCache>
                <c:formatCode>General</c:formatCode>
                <c:ptCount val="8"/>
                <c:pt idx="0">
                  <c:v>3.28739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1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L$2:$L$9</c:f>
              <c:numCache>
                <c:formatCode>General</c:formatCode>
                <c:ptCount val="8"/>
                <c:pt idx="6">
                  <c:v>3.9066000000000001</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B$2:$B$10</c:f>
              <c:numCache>
                <c:formatCode>General</c:formatCode>
                <c:ptCount val="9"/>
                <c:pt idx="0">
                  <c:v>1.2895000000000001</c:v>
                </c:pt>
                <c:pt idx="6">
                  <c:v>1.5113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C$2:$C$10</c:f>
              <c:numCache>
                <c:formatCode>General</c:formatCode>
                <c:ptCount val="9"/>
                <c:pt idx="0">
                  <c:v>1.7325999999999999</c:v>
                </c:pt>
                <c:pt idx="4">
                  <c:v>2.2576999999999998</c:v>
                </c:pt>
                <c:pt idx="6">
                  <c:v>3.0937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D$2:$D$10</c:f>
              <c:numCache>
                <c:formatCode>General</c:formatCode>
                <c:ptCount val="9"/>
                <c:pt idx="1">
                  <c:v>2.1227</c:v>
                </c:pt>
                <c:pt idx="2">
                  <c:v>2.7021000000000002</c:v>
                </c:pt>
                <c:pt idx="4">
                  <c:v>2.3105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92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E$2:$E$10</c:f>
              <c:numCache>
                <c:formatCode>General</c:formatCode>
                <c:ptCount val="9"/>
                <c:pt idx="7">
                  <c:v>2.4897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F$2:$F$10</c:f>
              <c:numCache>
                <c:formatCode>General</c:formatCode>
                <c:ptCount val="9"/>
                <c:pt idx="0">
                  <c:v>2.3788</c:v>
                </c:pt>
                <c:pt idx="2">
                  <c:v>2.2593999999999999</c:v>
                </c:pt>
                <c:pt idx="5">
                  <c:v>3.0556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G$2:$G$10</c:f>
              <c:numCache>
                <c:formatCode>General</c:formatCode>
                <c:ptCount val="9"/>
                <c:pt idx="0">
                  <c:v>1.8411</c:v>
                </c:pt>
                <c:pt idx="1">
                  <c:v>2.1223999999999998</c:v>
                </c:pt>
                <c:pt idx="3">
                  <c:v>2.9782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H$2:$H$10</c:f>
              <c:numCache>
                <c:formatCode>General</c:formatCode>
                <c:ptCount val="9"/>
                <c:pt idx="0">
                  <c:v>2.4459</c:v>
                </c:pt>
                <c:pt idx="2">
                  <c:v>3.2147000000000001</c:v>
                </c:pt>
                <c:pt idx="4">
                  <c:v>3.6261999999999999</c:v>
                </c:pt>
                <c:pt idx="5">
                  <c:v>3.7035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I$2:$I$10</c:f>
              <c:numCache>
                <c:formatCode>General</c:formatCode>
                <c:ptCount val="9"/>
                <c:pt idx="0">
                  <c:v>2.2509000000000001</c:v>
                </c:pt>
                <c:pt idx="1">
                  <c:v>2.9394999999999998</c:v>
                </c:pt>
                <c:pt idx="8">
                  <c:v>2.822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J$2:$J$10</c:f>
              <c:numCache>
                <c:formatCode>General</c:formatCode>
                <c:ptCount val="9"/>
                <c:pt idx="0">
                  <c:v>3.1638000000000002</c:v>
                </c:pt>
                <c:pt idx="4">
                  <c:v>4.558200000000000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K$2:$K$10</c:f>
              <c:numCache>
                <c:formatCode>General</c:formatCode>
                <c:ptCount val="9"/>
                <c:pt idx="0">
                  <c:v>3.7755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1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L$2:$L$10</c:f>
              <c:numCache>
                <c:formatCode>General</c:formatCode>
                <c:ptCount val="9"/>
                <c:pt idx="7">
                  <c:v>4.634000000000000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M$2:$M$10</c:f>
              <c:numCache>
                <c:formatCode>General</c:formatCode>
                <c:ptCount val="9"/>
                <c:pt idx="0">
                  <c:v>2.1004</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B$2:$B$7</c:f>
              <c:numCache>
                <c:formatCode>General</c:formatCode>
                <c:ptCount val="6"/>
                <c:pt idx="1">
                  <c:v>2.0247000000000002</c:v>
                </c:pt>
                <c:pt idx="2">
                  <c:v>3.3784000000000001</c:v>
                </c:pt>
                <c:pt idx="3">
                  <c:v>2.8323</c:v>
                </c:pt>
                <c:pt idx="4">
                  <c:v>2.6101999999999999</c:v>
                </c:pt>
                <c:pt idx="5">
                  <c:v>5.34480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C$2:$C$7</c:f>
              <c:numCache>
                <c:formatCode>General</c:formatCode>
                <c:ptCount val="6"/>
                <c:pt idx="0">
                  <c:v>2.3715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D$2:$D$7</c:f>
              <c:numCache>
                <c:formatCode>General</c:formatCode>
                <c:ptCount val="6"/>
                <c:pt idx="0">
                  <c:v>4.14700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B$2:$B$7</c:f>
              <c:numCache>
                <c:formatCode>General</c:formatCode>
                <c:ptCount val="6"/>
                <c:pt idx="1">
                  <c:v>2.1145</c:v>
                </c:pt>
                <c:pt idx="2">
                  <c:v>3.4693000000000001</c:v>
                </c:pt>
                <c:pt idx="3">
                  <c:v>3.0528</c:v>
                </c:pt>
                <c:pt idx="4">
                  <c:v>2.6516999999999999</c:v>
                </c:pt>
                <c:pt idx="5">
                  <c:v>5.70129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C$2:$C$7</c:f>
              <c:numCache>
                <c:formatCode>General</c:formatCode>
                <c:ptCount val="6"/>
                <c:pt idx="0">
                  <c:v>2.4519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D$2:$D$7</c:f>
              <c:numCache>
                <c:formatCode>General</c:formatCode>
                <c:ptCount val="6"/>
                <c:pt idx="0">
                  <c:v>4.42520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9243CA-2ABD-4F73-AE41-C748A3FA6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449F67-46A5-440D-B100-D7E5CD0BA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1070C9A-EFAA-412A-9652-56D95166E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4E6E30-B49B-4899-A998-6DA0A025B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B43AA3-6D57-4599-ADF7-3E53DDCAB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23A257-65D4-41D6-9F5D-4266435D0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9B6A57-E28B-4D9C-A807-24AA15F11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0C4AC1D-9AC2-4245-8673-5E44F2265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2894999999999999</c:v>
                </c:pt>
                <c:pt idx="1">
                  <c:v>2.6318000000000001</c:v>
                </c:pt>
                <c:pt idx="2">
                  <c:v>3.3193999999999999</c:v>
                </c:pt>
                <c:pt idx="3">
                  <c:v>2.7353999999999998</c:v>
                </c:pt>
                <c:pt idx="4">
                  <c:v>2.9201000000000001</c:v>
                </c:pt>
                <c:pt idx="5">
                  <c:v>2.4331</c:v>
                </c:pt>
                <c:pt idx="6">
                  <c:v>3.6213000000000002</c:v>
                </c:pt>
                <c:pt idx="7">
                  <c:v>3.3361999999999998</c:v>
                </c:pt>
                <c:pt idx="8">
                  <c:v>6.7622</c:v>
                </c:pt>
              </c:numCache>
            </c:numRef>
          </c:xVal>
          <c:yVal>
            <c:numRef>
              <c:f>Sheet1!$B$2:$B$10</c:f>
              <c:numCache>
                <c:formatCode>General</c:formatCode>
                <c:ptCount val="9"/>
                <c:pt idx="0">
                  <c:v>0.85199999999999998</c:v>
                </c:pt>
                <c:pt idx="1">
                  <c:v>0.93500000000000005</c:v>
                </c:pt>
                <c:pt idx="2">
                  <c:v>1.323</c:v>
                </c:pt>
                <c:pt idx="3">
                  <c:v>1.1140000000000001</c:v>
                </c:pt>
                <c:pt idx="4">
                  <c:v>1.1599999999999999</c:v>
                </c:pt>
                <c:pt idx="5">
                  <c:v>1.1619999999999999</c:v>
                </c:pt>
                <c:pt idx="6">
                  <c:v>1.1240000000000001</c:v>
                </c:pt>
                <c:pt idx="7">
                  <c:v>1.2050000000000001</c:v>
                </c:pt>
                <c:pt idx="8">
                  <c:v>1.2290000000000001</c:v>
                </c:pt>
              </c:numCache>
            </c:numRef>
          </c:yVal>
          <c:bubbleSize>
            <c:numRef>
              <c:f>Sheet1!$C$2:$C$10</c:f>
              <c:numCache>
                <c:formatCode>General</c:formatCode>
                <c:ptCount val="9"/>
                <c:pt idx="0">
                  <c:v>635650528</c:v>
                </c:pt>
                <c:pt idx="1">
                  <c:v>107531355</c:v>
                </c:pt>
                <c:pt idx="2">
                  <c:v>66381257</c:v>
                </c:pt>
                <c:pt idx="3">
                  <c:v>36240606</c:v>
                </c:pt>
                <c:pt idx="4">
                  <c:v>32921870</c:v>
                </c:pt>
                <c:pt idx="5">
                  <c:v>32835015</c:v>
                </c:pt>
                <c:pt idx="6">
                  <c:v>29954044</c:v>
                </c:pt>
                <c:pt idx="7">
                  <c:v>29411346</c:v>
                </c:pt>
                <c:pt idx="8">
                  <c:v>2603126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Entremont</c:v>
                  </c:pt>
                  <c:pt idx="3">
                    <c:v>Soignon</c:v>
                  </c:pt>
                  <c:pt idx="4">
                    <c:v>St Moret</c:v>
                  </c:pt>
                  <c:pt idx="5">
                    <c:v>Galbani</c:v>
                  </c:pt>
                  <c:pt idx="6">
                    <c:v>Leerdammer</c:v>
                  </c:pt>
                  <c:pt idx="7">
                    <c:v>Caprice Des Dieux</c:v>
                  </c:pt>
                  <c:pt idx="8">
                    <c:v>Richesmont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B$2:$B$7</c:f>
              <c:numCache>
                <c:formatCode>General</c:formatCode>
                <c:ptCount val="6"/>
                <c:pt idx="1">
                  <c:v>2.1533000000000002</c:v>
                </c:pt>
                <c:pt idx="2">
                  <c:v>3.3626999999999998</c:v>
                </c:pt>
                <c:pt idx="3">
                  <c:v>2.6185</c:v>
                </c:pt>
                <c:pt idx="4">
                  <c:v>2.7747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C$2:$C$7</c:f>
              <c:numCache>
                <c:formatCode>General</c:formatCode>
                <c:ptCount val="6"/>
                <c:pt idx="0">
                  <c:v>2.31199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D$2:$D$7</c:f>
              <c:numCache>
                <c:formatCode>General</c:formatCode>
                <c:ptCount val="6"/>
                <c:pt idx="5">
                  <c:v>2.825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E$2:$E$7</c:f>
              <c:numCache>
                <c:formatCode>General</c:formatCode>
                <c:ptCount val="6"/>
                <c:pt idx="4">
                  <c:v>2.2357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F$2:$F$7</c:f>
              <c:numCache>
                <c:formatCode>General</c:formatCode>
                <c:ptCount val="6"/>
                <c:pt idx="0">
                  <c:v>4.235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President</c:v>
                </c:pt>
                <c:pt idx="2">
                  <c:v>La Belle Etoile</c:v>
                </c:pt>
                <c:pt idx="3">
                  <c:v>La Vache Qui Rit</c:v>
                </c:pt>
                <c:pt idx="4">
                  <c:v>All Others</c:v>
                </c:pt>
                <c:pt idx="5">
                  <c:v>Boursin</c:v>
                </c:pt>
              </c:strCache>
            </c:strRef>
          </c:cat>
          <c:val>
            <c:numRef>
              <c:f>Sheet1!$B$2:$B$7</c:f>
              <c:numCache>
                <c:formatCode>General</c:formatCode>
                <c:ptCount val="6"/>
                <c:pt idx="0">
                  <c:v>1.2976000000000001</c:v>
                </c:pt>
                <c:pt idx="1">
                  <c:v>1.7034</c:v>
                </c:pt>
                <c:pt idx="3">
                  <c:v>1.7914000000000001</c:v>
                </c:pt>
                <c:pt idx="4">
                  <c:v>2.6181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La Vache Qui Rit</c:v>
                </c:pt>
                <c:pt idx="4">
                  <c:v>All Others</c:v>
                </c:pt>
                <c:pt idx="5">
                  <c:v>Boursin</c:v>
                </c:pt>
              </c:strCache>
            </c:strRef>
          </c:cat>
          <c:val>
            <c:numRef>
              <c:f>Sheet1!$C$2:$C$7</c:f>
              <c:numCache>
                <c:formatCode>General</c:formatCode>
                <c:ptCount val="6"/>
                <c:pt idx="5">
                  <c:v>2.5470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La Vache Qui Rit</c:v>
                </c:pt>
                <c:pt idx="4">
                  <c:v>All Others</c:v>
                </c:pt>
                <c:pt idx="5">
                  <c:v>Boursin</c:v>
                </c:pt>
              </c:strCache>
            </c:strRef>
          </c:cat>
          <c:val>
            <c:numRef>
              <c:f>Sheet1!$D$2:$D$7</c:f>
              <c:numCache>
                <c:formatCode>General</c:formatCode>
                <c:ptCount val="6"/>
                <c:pt idx="0">
                  <c:v>2.0289000000000001</c:v>
                </c:pt>
                <c:pt idx="2">
                  <c:v>2.8753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La Vache Qui Rit</c:v>
                </c:pt>
                <c:pt idx="4">
                  <c:v>All Others</c:v>
                </c:pt>
                <c:pt idx="5">
                  <c:v>Boursin</c:v>
                </c:pt>
              </c:strCache>
            </c:strRef>
          </c:cat>
          <c:val>
            <c:numRef>
              <c:f>Sheet1!$E$2:$E$7</c:f>
              <c:numCache>
                <c:formatCode>General</c:formatCode>
                <c:ptCount val="6"/>
                <c:pt idx="0">
                  <c:v>1.9229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4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La Vache Qui Rit</c:v>
                </c:pt>
                <c:pt idx="4">
                  <c:v>All Others</c:v>
                </c:pt>
                <c:pt idx="5">
                  <c:v>Boursin</c:v>
                </c:pt>
              </c:strCache>
            </c:strRef>
          </c:cat>
          <c:val>
            <c:numRef>
              <c:f>Sheet1!$F$2:$F$7</c:f>
              <c:numCache>
                <c:formatCode>General</c:formatCode>
                <c:ptCount val="6"/>
                <c:pt idx="0">
                  <c:v>2.0817999999999999</c:v>
                </c:pt>
                <c:pt idx="1">
                  <c:v>2.8239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President</c:v>
                </c:pt>
                <c:pt idx="2">
                  <c:v>La Belle Etoile</c:v>
                </c:pt>
                <c:pt idx="3">
                  <c:v>La Vache Qui Rit</c:v>
                </c:pt>
                <c:pt idx="4">
                  <c:v>All Others</c:v>
                </c:pt>
                <c:pt idx="5">
                  <c:v>Boursin</c:v>
                </c:pt>
              </c:strCache>
            </c:strRef>
          </c:cat>
          <c:val>
            <c:numRef>
              <c:f>Sheet1!$G$2:$G$7</c:f>
              <c:numCache>
                <c:formatCode>General</c:formatCode>
                <c:ptCount val="6"/>
                <c:pt idx="2">
                  <c:v>5.219400000000000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President</c:v>
                </c:pt>
                <c:pt idx="2">
                  <c:v>La Vache Qui Rit</c:v>
                </c:pt>
                <c:pt idx="3">
                  <c:v>La Belle Etoile</c:v>
                </c:pt>
                <c:pt idx="4">
                  <c:v>All Others</c:v>
                </c:pt>
                <c:pt idx="5">
                  <c:v>Boursin</c:v>
                </c:pt>
              </c:strCache>
            </c:strRef>
          </c:cat>
          <c:val>
            <c:numRef>
              <c:f>Sheet1!$B$2:$B$7</c:f>
              <c:numCache>
                <c:formatCode>General</c:formatCode>
                <c:ptCount val="6"/>
                <c:pt idx="0">
                  <c:v>1.3932</c:v>
                </c:pt>
                <c:pt idx="1">
                  <c:v>1.8547</c:v>
                </c:pt>
                <c:pt idx="2">
                  <c:v>1.7629999999999999</c:v>
                </c:pt>
                <c:pt idx="4">
                  <c:v>2.8957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Vache Qui Rit</c:v>
                </c:pt>
                <c:pt idx="3">
                  <c:v>La Belle Etoile</c:v>
                </c:pt>
                <c:pt idx="4">
                  <c:v>All Others</c:v>
                </c:pt>
                <c:pt idx="5">
                  <c:v>Boursin</c:v>
                </c:pt>
              </c:strCache>
            </c:strRef>
          </c:cat>
          <c:val>
            <c:numRef>
              <c:f>Sheet1!$C$2:$C$7</c:f>
              <c:numCache>
                <c:formatCode>General</c:formatCode>
                <c:ptCount val="6"/>
                <c:pt idx="5">
                  <c:v>2.6623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Vache Qui Rit</c:v>
                </c:pt>
                <c:pt idx="3">
                  <c:v>La Belle Etoile</c:v>
                </c:pt>
                <c:pt idx="4">
                  <c:v>All Others</c:v>
                </c:pt>
                <c:pt idx="5">
                  <c:v>Boursin</c:v>
                </c:pt>
              </c:strCache>
            </c:strRef>
          </c:cat>
          <c:val>
            <c:numRef>
              <c:f>Sheet1!$D$2:$D$7</c:f>
              <c:numCache>
                <c:formatCode>General</c:formatCode>
                <c:ptCount val="6"/>
                <c:pt idx="0">
                  <c:v>2.0861000000000001</c:v>
                </c:pt>
                <c:pt idx="3">
                  <c:v>2.9725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Vache Qui Rit</c:v>
                </c:pt>
                <c:pt idx="3">
                  <c:v>La Belle Etoile</c:v>
                </c:pt>
                <c:pt idx="4">
                  <c:v>All Others</c:v>
                </c:pt>
                <c:pt idx="5">
                  <c:v>Boursin</c:v>
                </c:pt>
              </c:strCache>
            </c:strRef>
          </c:cat>
          <c:val>
            <c:numRef>
              <c:f>Sheet1!$E$2:$E$7</c:f>
              <c:numCache>
                <c:formatCode>General</c:formatCode>
                <c:ptCount val="6"/>
                <c:pt idx="0">
                  <c:v>1.78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4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Vache Qui Rit</c:v>
                </c:pt>
                <c:pt idx="3">
                  <c:v>La Belle Etoile</c:v>
                </c:pt>
                <c:pt idx="4">
                  <c:v>All Others</c:v>
                </c:pt>
                <c:pt idx="5">
                  <c:v>Boursin</c:v>
                </c:pt>
              </c:strCache>
            </c:strRef>
          </c:cat>
          <c:val>
            <c:numRef>
              <c:f>Sheet1!$F$2:$F$7</c:f>
              <c:numCache>
                <c:formatCode>General</c:formatCode>
                <c:ptCount val="6"/>
                <c:pt idx="0">
                  <c:v>2.0076999999999998</c:v>
                </c:pt>
                <c:pt idx="1">
                  <c:v>2.79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President</c:v>
                </c:pt>
                <c:pt idx="2">
                  <c:v>La Vache Qui Rit</c:v>
                </c:pt>
                <c:pt idx="3">
                  <c:v>La Belle Etoile</c:v>
                </c:pt>
                <c:pt idx="4">
                  <c:v>All Others</c:v>
                </c:pt>
                <c:pt idx="5">
                  <c:v>Boursin</c:v>
                </c:pt>
              </c:strCache>
            </c:strRef>
          </c:cat>
          <c:val>
            <c:numRef>
              <c:f>Sheet1!$G$2:$G$7</c:f>
              <c:numCache>
                <c:formatCode>General</c:formatCode>
                <c:ptCount val="6"/>
                <c:pt idx="3">
                  <c:v>5.453299999999999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Private Label</c:v>
                </c:pt>
                <c:pt idx="1">
                  <c:v>President</c:v>
                </c:pt>
                <c:pt idx="2">
                  <c:v>La Belle Etoile</c:v>
                </c:pt>
                <c:pt idx="3">
                  <c:v>Raguin</c:v>
                </c:pt>
                <c:pt idx="4">
                  <c:v>Boursin</c:v>
                </c:pt>
                <c:pt idx="5">
                  <c:v>Milleret: All Others</c:v>
                </c:pt>
              </c:strCache>
            </c:strRef>
          </c:cat>
          <c:val>
            <c:numRef>
              <c:f>Sheet1!$B$2:$B$7</c:f>
              <c:numCache>
                <c:formatCode>General</c:formatCode>
                <c:ptCount val="6"/>
                <c:pt idx="0">
                  <c:v>1.2566999999999999</c:v>
                </c:pt>
                <c:pt idx="1">
                  <c:v>1.602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Raguin</c:v>
                </c:pt>
                <c:pt idx="4">
                  <c:v>Boursin</c:v>
                </c:pt>
                <c:pt idx="5">
                  <c:v>Milleret: All Others</c:v>
                </c:pt>
              </c:strCache>
            </c:strRef>
          </c:cat>
          <c:val>
            <c:numRef>
              <c:f>Sheet1!$C$2:$C$7</c:f>
              <c:numCache>
                <c:formatCode>General</c:formatCode>
                <c:ptCount val="6"/>
                <c:pt idx="4">
                  <c:v>2.6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Raguin</c:v>
                </c:pt>
                <c:pt idx="4">
                  <c:v>Boursin</c:v>
                </c:pt>
                <c:pt idx="5">
                  <c:v>Milleret: All Others</c:v>
                </c:pt>
              </c:strCache>
            </c:strRef>
          </c:cat>
          <c:val>
            <c:numRef>
              <c:f>Sheet1!$D$2:$D$7</c:f>
              <c:numCache>
                <c:formatCode>General</c:formatCode>
                <c:ptCount val="6"/>
                <c:pt idx="0">
                  <c:v>2.0478999999999998</c:v>
                </c:pt>
                <c:pt idx="1">
                  <c:v>3.0341999999999998</c:v>
                </c:pt>
                <c:pt idx="2">
                  <c:v>3.0247000000000002</c:v>
                </c:pt>
                <c:pt idx="3">
                  <c:v>2.7126000000000001</c:v>
                </c:pt>
                <c:pt idx="5">
                  <c:v>2.6135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4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Raguin</c:v>
                </c:pt>
                <c:pt idx="4">
                  <c:v>Boursin</c:v>
                </c:pt>
                <c:pt idx="5">
                  <c:v>Milleret: All Others</c:v>
                </c:pt>
              </c:strCache>
            </c:strRef>
          </c:cat>
          <c:val>
            <c:numRef>
              <c:f>Sheet1!$E$2:$E$7</c:f>
              <c:numCache>
                <c:formatCode>General</c:formatCode>
                <c:ptCount val="6"/>
                <c:pt idx="0">
                  <c:v>2.0687000000000002</c:v>
                </c:pt>
                <c:pt idx="1">
                  <c:v>2.8538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Private Label</c:v>
                </c:pt>
                <c:pt idx="1">
                  <c:v>President</c:v>
                </c:pt>
                <c:pt idx="2">
                  <c:v>La Belle Etoile</c:v>
                </c:pt>
                <c:pt idx="3">
                  <c:v>Raguin</c:v>
                </c:pt>
                <c:pt idx="4">
                  <c:v>Boursin</c:v>
                </c:pt>
                <c:pt idx="5">
                  <c:v>Milleret: All Others</c:v>
                </c:pt>
              </c:strCache>
            </c:strRef>
          </c:cat>
          <c:val>
            <c:numRef>
              <c:f>Sheet1!$F$2:$F$7</c:f>
              <c:numCache>
                <c:formatCode>General</c:formatCode>
                <c:ptCount val="6"/>
                <c:pt idx="2">
                  <c:v>5.2453000000000003</c:v>
                </c:pt>
                <c:pt idx="3">
                  <c:v>5.169100000000000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8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B$2:$B$6</c:f>
              <c:numCache>
                <c:formatCode>General</c:formatCode>
                <c:ptCount val="5"/>
                <c:pt idx="0">
                  <c:v>2.0371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2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C$2:$C$6</c:f>
              <c:numCache>
                <c:formatCode>General</c:formatCode>
                <c:ptCount val="5"/>
                <c:pt idx="1">
                  <c:v>2.482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4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D$2:$D$6</c:f>
              <c:numCache>
                <c:formatCode>General</c:formatCode>
                <c:ptCount val="5"/>
                <c:pt idx="2">
                  <c:v>2.3168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8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E$2:$E$6</c:f>
              <c:numCache>
                <c:formatCode>General</c:formatCode>
                <c:ptCount val="5"/>
                <c:pt idx="4">
                  <c:v>3.4906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5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F$2:$F$6</c:f>
              <c:numCache>
                <c:formatCode>General</c:formatCode>
                <c:ptCount val="5"/>
                <c:pt idx="0">
                  <c:v>2.3717000000000001</c:v>
                </c:pt>
                <c:pt idx="2">
                  <c:v>2.3315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G$2:$G$6</c:f>
              <c:numCache>
                <c:formatCode>General</c:formatCode>
                <c:ptCount val="5"/>
                <c:pt idx="1">
                  <c:v>3.2867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H$2:$H$6</c:f>
              <c:numCache>
                <c:formatCode>General</c:formatCode>
                <c:ptCount val="5"/>
                <c:pt idx="0">
                  <c:v>2.6135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6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I$2:$I$6</c:f>
              <c:numCache>
                <c:formatCode>General</c:formatCode>
                <c:ptCount val="5"/>
                <c:pt idx="2">
                  <c:v>2.8616999999999999</c:v>
                </c:pt>
                <c:pt idx="3">
                  <c:v>1.869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J$2:$J$6</c:f>
              <c:numCache>
                <c:formatCode>General</c:formatCode>
                <c:ptCount val="5"/>
                <c:pt idx="1">
                  <c:v>4.025599999999999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K$2:$K$6</c:f>
              <c:numCache>
                <c:formatCode>General</c:formatCode>
                <c:ptCount val="5"/>
                <c:pt idx="3">
                  <c:v>2.0017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L$2:$L$6</c:f>
              <c:numCache>
                <c:formatCode>General</c:formatCode>
                <c:ptCount val="5"/>
                <c:pt idx="0">
                  <c:v>2.934200000000000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M$2:$M$6</c:f>
              <c:numCache>
                <c:formatCode>General</c:formatCode>
                <c:ptCount val="5"/>
                <c:pt idx="1">
                  <c:v>4.158199999999999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80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N$2:$N$6</c:f>
              <c:numCache>
                <c:formatCode>General</c:formatCode>
                <c:ptCount val="5"/>
                <c:pt idx="2">
                  <c:v>3.557300000000000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O$2:$O$6</c:f>
              <c:numCache>
                <c:formatCode>General</c:formatCode>
                <c:ptCount val="5"/>
                <c:pt idx="0">
                  <c:v>3.756400000000000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P$2:$P$6</c:f>
              <c:numCache>
                <c:formatCode>General</c:formatCode>
                <c:ptCount val="5"/>
                <c:pt idx="3">
                  <c:v>2.558800000000000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Q$2:$Q$6</c:f>
              <c:numCache>
                <c:formatCode>General</c:formatCode>
                <c:ptCount val="5"/>
                <c:pt idx="2">
                  <c:v>4.633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R$2:$R$6</c:f>
              <c:numCache>
                <c:formatCode>General</c:formatCode>
                <c:ptCount val="5"/>
                <c:pt idx="1">
                  <c:v>5.845900000000000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S$2:$S$6</c:f>
              <c:numCache>
                <c:formatCode>General</c:formatCode>
                <c:ptCount val="5"/>
                <c:pt idx="0">
                  <c:v>4.269000000000000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T$2:$T$6</c:f>
              <c:numCache>
                <c:formatCode>General</c:formatCode>
                <c:ptCount val="5"/>
                <c:pt idx="4">
                  <c:v>2.154799999999999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8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0">
                  <c:v>2.0430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2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1">
                  <c:v>2.5712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3">
                  <c:v>1.17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4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E$2:$E$7</c:f>
              <c:numCache>
                <c:formatCode>General</c:formatCode>
                <c:ptCount val="6"/>
                <c:pt idx="2">
                  <c:v>2.3031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F$2:$F$7</c:f>
              <c:numCache>
                <c:formatCode>General</c:formatCode>
                <c:ptCount val="6"/>
                <c:pt idx="5">
                  <c:v>2.9266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6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G$2:$G$7</c:f>
              <c:numCache>
                <c:formatCode>General</c:formatCode>
                <c:ptCount val="6"/>
                <c:pt idx="4">
                  <c:v>3.4824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H$2:$H$7</c:f>
              <c:numCache>
                <c:formatCode>General</c:formatCode>
                <c:ptCount val="6"/>
                <c:pt idx="0">
                  <c:v>2.2818000000000001</c:v>
                </c:pt>
                <c:pt idx="2">
                  <c:v>2.2966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92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I$2:$I$7</c:f>
              <c:numCache>
                <c:formatCode>General</c:formatCode>
                <c:ptCount val="6"/>
                <c:pt idx="0">
                  <c:v>2.764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16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J$2:$J$7</c:f>
              <c:numCache>
                <c:formatCode>General</c:formatCode>
                <c:ptCount val="6"/>
                <c:pt idx="2">
                  <c:v>2.9809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K$2:$K$7</c:f>
              <c:numCache>
                <c:formatCode>General</c:formatCode>
                <c:ptCount val="6"/>
                <c:pt idx="3">
                  <c:v>2.11830000000000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4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L$2:$L$7</c:f>
              <c:numCache>
                <c:formatCode>General</c:formatCode>
                <c:ptCount val="6"/>
                <c:pt idx="1">
                  <c:v>3.822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M$2:$M$7</c:f>
              <c:numCache>
                <c:formatCode>General</c:formatCode>
                <c:ptCount val="6"/>
                <c:pt idx="2">
                  <c:v>3.597100000000000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52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N$2:$N$7</c:f>
              <c:numCache>
                <c:formatCode>General</c:formatCode>
                <c:ptCount val="6"/>
                <c:pt idx="1">
                  <c:v>5.871500000000000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O$2:$O$7</c:f>
              <c:numCache>
                <c:formatCode>General</c:formatCode>
                <c:ptCount val="6"/>
                <c:pt idx="0">
                  <c:v>3.724200000000000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P$2:$P$7</c:f>
              <c:numCache>
                <c:formatCode>General</c:formatCode>
                <c:ptCount val="6"/>
                <c:pt idx="3">
                  <c:v>2.737899999999999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Q$2:$Q$7</c:f>
              <c:numCache>
                <c:formatCode>General</c:formatCode>
                <c:ptCount val="6"/>
                <c:pt idx="2">
                  <c:v>4.227000000000000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R$2:$R$7</c:f>
              <c:numCache>
                <c:formatCode>General</c:formatCode>
                <c:ptCount val="6"/>
                <c:pt idx="1">
                  <c:v>6.2496999999999998</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S$2:$S$7</c:f>
              <c:numCache>
                <c:formatCode>General</c:formatCode>
                <c:ptCount val="6"/>
                <c:pt idx="1">
                  <c:v>7.049599999999999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T$2:$T$7</c:f>
              <c:numCache>
                <c:formatCode>General</c:formatCode>
                <c:ptCount val="6"/>
                <c:pt idx="0">
                  <c:v>3.906600000000000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U$2:$U$7</c:f>
              <c:numCache>
                <c:formatCode>General</c:formatCode>
                <c:ptCount val="6"/>
                <c:pt idx="3">
                  <c:v>3.5234999999999999</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V$2:$V$7</c:f>
              <c:numCache>
                <c:formatCode>General</c:formatCode>
                <c:ptCount val="6"/>
                <c:pt idx="4">
                  <c:v>2.3713000000000002</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2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1">
                  <c:v>2.4224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4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2">
                  <c:v>2.3338999999999999</c:v>
                </c:pt>
                <c:pt idx="3">
                  <c:v>1.8676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4">
                  <c:v>3.5434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E$2:$E$7</c:f>
              <c:numCache>
                <c:formatCode>General</c:formatCode>
                <c:ptCount val="6"/>
                <c:pt idx="0">
                  <c:v>2.4007000000000001</c:v>
                </c:pt>
                <c:pt idx="2">
                  <c:v>2.368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F$2:$F$7</c:f>
              <c:numCache>
                <c:formatCode>General</c:formatCode>
                <c:ptCount val="6"/>
                <c:pt idx="1">
                  <c:v>3.8734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92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G$2:$G$7</c:f>
              <c:numCache>
                <c:formatCode>General</c:formatCode>
                <c:ptCount val="6"/>
                <c:pt idx="0">
                  <c:v>2.4897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H$2:$H$7</c:f>
              <c:numCache>
                <c:formatCode>General</c:formatCode>
                <c:ptCount val="6"/>
                <c:pt idx="3">
                  <c:v>1.659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6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I$2:$I$7</c:f>
              <c:numCache>
                <c:formatCode>General</c:formatCode>
                <c:ptCount val="6"/>
                <c:pt idx="2">
                  <c:v>2.95</c:v>
                </c:pt>
                <c:pt idx="3">
                  <c:v>1.879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4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J$2:$J$7</c:f>
              <c:numCache>
                <c:formatCode>General</c:formatCode>
                <c:ptCount val="6"/>
                <c:pt idx="5">
                  <c:v>3.620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64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K$2:$K$7</c:f>
              <c:numCache>
                <c:formatCode>General</c:formatCode>
                <c:ptCount val="6"/>
                <c:pt idx="1">
                  <c:v>4.41049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7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L$2:$L$7</c:f>
              <c:numCache>
                <c:formatCode>General</c:formatCode>
                <c:ptCount val="6"/>
                <c:pt idx="0">
                  <c:v>3.116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M$2:$M$7</c:f>
              <c:numCache>
                <c:formatCode>General</c:formatCode>
                <c:ptCount val="6"/>
                <c:pt idx="0">
                  <c:v>3.9312999999999998</c:v>
                </c:pt>
                <c:pt idx="2">
                  <c:v>3.639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84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N$2:$N$7</c:f>
              <c:numCache>
                <c:formatCode>General</c:formatCode>
                <c:ptCount val="6"/>
                <c:pt idx="0">
                  <c:v>3.949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O$2:$O$7</c:f>
              <c:numCache>
                <c:formatCode>General</c:formatCode>
                <c:ptCount val="6"/>
                <c:pt idx="3">
                  <c:v>2.693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P$2:$P$7</c:f>
              <c:numCache>
                <c:formatCode>General</c:formatCode>
                <c:ptCount val="6"/>
                <c:pt idx="2">
                  <c:v>5.0930999999999997</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Q$2:$Q$7</c:f>
              <c:numCache>
                <c:formatCode>General</c:formatCode>
                <c:ptCount val="6"/>
                <c:pt idx="1">
                  <c:v>6.290499999999999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R$2:$R$7</c:f>
              <c:numCache>
                <c:formatCode>General</c:formatCode>
                <c:ptCount val="6"/>
                <c:pt idx="0">
                  <c:v>4.634000000000000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S$2:$S$7</c:f>
              <c:numCache>
                <c:formatCode>General</c:formatCode>
                <c:ptCount val="6"/>
                <c:pt idx="4">
                  <c:v>2.202300000000000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B$2:$B$9</c:f>
              <c:numCache>
                <c:formatCode>General</c:formatCode>
                <c:ptCount val="8"/>
                <c:pt idx="7">
                  <c:v>1.7085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C$2:$C$9</c:f>
              <c:numCache>
                <c:formatCode>General</c:formatCode>
                <c:ptCount val="8"/>
                <c:pt idx="0">
                  <c:v>2.3321999999999998</c:v>
                </c:pt>
                <c:pt idx="1">
                  <c:v>1.2223999999999999</c:v>
                </c:pt>
                <c:pt idx="2">
                  <c:v>1.8638999999999999</c:v>
                </c:pt>
                <c:pt idx="3">
                  <c:v>1.9804999999999999</c:v>
                </c:pt>
                <c:pt idx="4">
                  <c:v>2.1526000000000001</c:v>
                </c:pt>
                <c:pt idx="6">
                  <c:v>2.038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D$2:$D$9</c:f>
              <c:numCache>
                <c:formatCode>General</c:formatCode>
                <c:ptCount val="8"/>
                <c:pt idx="3">
                  <c:v>2.0179999999999998</c:v>
                </c:pt>
                <c:pt idx="4">
                  <c:v>2.4359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E$2:$E$9</c:f>
              <c:numCache>
                <c:formatCode>General</c:formatCode>
                <c:ptCount val="8"/>
                <c:pt idx="0">
                  <c:v>2.3018000000000001</c:v>
                </c:pt>
                <c:pt idx="2">
                  <c:v>2.20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F$2:$F$9</c:f>
              <c:numCache>
                <c:formatCode>General</c:formatCode>
                <c:ptCount val="8"/>
                <c:pt idx="5">
                  <c:v>2.4401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G$2:$G$9</c:f>
              <c:numCache>
                <c:formatCode>General</c:formatCode>
                <c:ptCount val="8"/>
                <c:pt idx="1">
                  <c:v>2.1562999999999999</c:v>
                </c:pt>
                <c:pt idx="3">
                  <c:v>2.7464</c:v>
                </c:pt>
                <c:pt idx="4">
                  <c:v>3.2924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H$2:$H$9</c:f>
              <c:numCache>
                <c:formatCode>General</c:formatCode>
                <c:ptCount val="8"/>
                <c:pt idx="2">
                  <c:v>3.0575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I$2:$I$9</c:f>
              <c:numCache>
                <c:formatCode>General</c:formatCode>
                <c:ptCount val="8"/>
                <c:pt idx="0">
                  <c:v>3.5305</c:v>
                </c:pt>
                <c:pt idx="1">
                  <c:v>1.8754</c:v>
                </c:pt>
                <c:pt idx="6">
                  <c:v>3.26040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J$2:$J$9</c:f>
              <c:numCache>
                <c:formatCode>General</c:formatCode>
                <c:ptCount val="8"/>
                <c:pt idx="2">
                  <c:v>3.359100000000000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K$2:$K$9</c:f>
              <c:numCache>
                <c:formatCode>General</c:formatCode>
                <c:ptCount val="8"/>
                <c:pt idx="0">
                  <c:v>4.577499999999999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L$2:$L$9</c:f>
              <c:numCache>
                <c:formatCode>General</c:formatCode>
                <c:ptCount val="8"/>
                <c:pt idx="2">
                  <c:v>4.573000000000000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M$2:$M$9</c:f>
              <c:numCache>
                <c:formatCode>General</c:formatCode>
                <c:ptCount val="8"/>
                <c:pt idx="0">
                  <c:v>5.23</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B$2:$B$8</c:f>
              <c:numCache>
                <c:formatCode>General</c:formatCode>
                <c:ptCount val="7"/>
                <c:pt idx="0">
                  <c:v>2.5021</c:v>
                </c:pt>
                <c:pt idx="1">
                  <c:v>1.4434</c:v>
                </c:pt>
                <c:pt idx="2">
                  <c:v>1.974</c:v>
                </c:pt>
                <c:pt idx="3">
                  <c:v>2.1177000000000001</c:v>
                </c:pt>
                <c:pt idx="4">
                  <c:v>2.2631000000000001</c:v>
                </c:pt>
                <c:pt idx="6">
                  <c:v>2.1848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C$2:$C$8</c:f>
              <c:numCache>
                <c:formatCode>General</c:formatCode>
                <c:ptCount val="7"/>
                <c:pt idx="3">
                  <c:v>2.0998000000000001</c:v>
                </c:pt>
                <c:pt idx="4">
                  <c:v>2.57390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D$2:$D$8</c:f>
              <c:numCache>
                <c:formatCode>General</c:formatCode>
                <c:ptCount val="7"/>
                <c:pt idx="0">
                  <c:v>2.4893000000000001</c:v>
                </c:pt>
                <c:pt idx="2">
                  <c:v>2.2854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E$2:$E$8</c:f>
              <c:numCache>
                <c:formatCode>General</c:formatCode>
                <c:ptCount val="7"/>
                <c:pt idx="5">
                  <c:v>2.4552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5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F$2:$F$8</c:f>
              <c:numCache>
                <c:formatCode>General</c:formatCode>
                <c:ptCount val="7"/>
                <c:pt idx="0">
                  <c:v>3.2366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G$2:$G$8</c:f>
              <c:numCache>
                <c:formatCode>General</c:formatCode>
                <c:ptCount val="7"/>
                <c:pt idx="1">
                  <c:v>2.1473</c:v>
                </c:pt>
                <c:pt idx="3">
                  <c:v>2.9064000000000001</c:v>
                </c:pt>
                <c:pt idx="4">
                  <c:v>3.4199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H$2:$H$8</c:f>
              <c:numCache>
                <c:formatCode>General</c:formatCode>
                <c:ptCount val="7"/>
                <c:pt idx="0">
                  <c:v>3.6497000000000002</c:v>
                </c:pt>
                <c:pt idx="1">
                  <c:v>1.9736</c:v>
                </c:pt>
                <c:pt idx="6">
                  <c:v>3.3984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2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I$2:$I$8</c:f>
              <c:numCache>
                <c:formatCode>General</c:formatCode>
                <c:ptCount val="7"/>
                <c:pt idx="2">
                  <c:v>3.34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J$2:$J$8</c:f>
              <c:numCache>
                <c:formatCode>General</c:formatCode>
                <c:ptCount val="7"/>
                <c:pt idx="0">
                  <c:v>4.661400000000000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6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K$2:$K$8</c:f>
              <c:numCache>
                <c:formatCode>General</c:formatCode>
                <c:ptCount val="7"/>
                <c:pt idx="2">
                  <c:v>4.728500000000000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L$2:$L$8</c:f>
              <c:numCache>
                <c:formatCode>General</c:formatCode>
                <c:ptCount val="7"/>
                <c:pt idx="0">
                  <c:v>5.0990000000000002</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B$2:$B$8</c:f>
              <c:numCache>
                <c:formatCode>General</c:formatCode>
                <c:ptCount val="7"/>
                <c:pt idx="2">
                  <c:v>2.2608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C$2:$C$8</c:f>
              <c:numCache>
                <c:formatCode>General</c:formatCode>
                <c:ptCount val="7"/>
                <c:pt idx="0">
                  <c:v>2.2576999999999998</c:v>
                </c:pt>
                <c:pt idx="1">
                  <c:v>1.2655000000000001</c:v>
                </c:pt>
                <c:pt idx="2">
                  <c:v>2.2536</c:v>
                </c:pt>
                <c:pt idx="3">
                  <c:v>1.8654999999999999</c:v>
                </c:pt>
                <c:pt idx="4">
                  <c:v>2.0594999999999999</c:v>
                </c:pt>
                <c:pt idx="6">
                  <c:v>1.8594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D$2:$D$8</c:f>
              <c:numCache>
                <c:formatCode>General</c:formatCode>
                <c:ptCount val="7"/>
                <c:pt idx="2">
                  <c:v>2.4615</c:v>
                </c:pt>
                <c:pt idx="4">
                  <c:v>2.0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E$2:$E$8</c:f>
              <c:numCache>
                <c:formatCode>General</c:formatCode>
                <c:ptCount val="7"/>
                <c:pt idx="0">
                  <c:v>2.3105000000000002</c:v>
                </c:pt>
                <c:pt idx="3">
                  <c:v>2.16990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F$2:$F$8</c:f>
              <c:numCache>
                <c:formatCode>General</c:formatCode>
                <c:ptCount val="7"/>
                <c:pt idx="5">
                  <c:v>2.4967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G$2:$G$8</c:f>
              <c:numCache>
                <c:formatCode>General</c:formatCode>
                <c:ptCount val="7"/>
                <c:pt idx="1">
                  <c:v>2.1457999999999999</c:v>
                </c:pt>
                <c:pt idx="2">
                  <c:v>3.2565</c:v>
                </c:pt>
                <c:pt idx="4">
                  <c:v>2.8321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H$2:$H$8</c:f>
              <c:numCache>
                <c:formatCode>General</c:formatCode>
                <c:ptCount val="7"/>
                <c:pt idx="3">
                  <c:v>3.0729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I$2:$I$8</c:f>
              <c:numCache>
                <c:formatCode>General</c:formatCode>
                <c:ptCount val="7"/>
                <c:pt idx="0">
                  <c:v>3.6261999999999999</c:v>
                </c:pt>
                <c:pt idx="1">
                  <c:v>1.9140999999999999</c:v>
                </c:pt>
                <c:pt idx="6">
                  <c:v>3.1991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J$2:$J$8</c:f>
              <c:numCache>
                <c:formatCode>General</c:formatCode>
                <c:ptCount val="7"/>
                <c:pt idx="3">
                  <c:v>3.3521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K$2:$K$8</c:f>
              <c:numCache>
                <c:formatCode>General</c:formatCode>
                <c:ptCount val="7"/>
                <c:pt idx="0">
                  <c:v>4.558200000000000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L$2:$L$8</c:f>
              <c:numCache>
                <c:formatCode>General</c:formatCode>
                <c:ptCount val="7"/>
                <c:pt idx="2">
                  <c:v>1.74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BAEDB2-3545-4777-A101-3BC69222D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D32011-655C-4A64-9560-3DB3A08EA9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DA640E-7EA4-4606-867F-13977991E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D16215-AB27-47A8-A6FA-5DA5723AF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07BBA9-AEEB-4D0D-8B19-B7D93C8B5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CF8A46-61AC-43BC-965D-BA2B5F50E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895A5F-5FF4-4889-9F84-8A52ACD79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FBEC415-83EE-4803-ADC2-7054EA0D5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387</c:v>
                </c:pt>
                <c:pt idx="1">
                  <c:v>2.2827999999999999</c:v>
                </c:pt>
                <c:pt idx="2">
                  <c:v>2.7042000000000002</c:v>
                </c:pt>
                <c:pt idx="3">
                  <c:v>2.9156</c:v>
                </c:pt>
                <c:pt idx="4">
                  <c:v>3.2122000000000002</c:v>
                </c:pt>
                <c:pt idx="5">
                  <c:v>2.4706999999999999</c:v>
                </c:pt>
                <c:pt idx="6">
                  <c:v>3.2845</c:v>
                </c:pt>
                <c:pt idx="7">
                  <c:v>3.4908000000000001</c:v>
                </c:pt>
                <c:pt idx="8">
                  <c:v>2.2103999999999999</c:v>
                </c:pt>
              </c:numCache>
            </c:numRef>
          </c:xVal>
          <c:yVal>
            <c:numRef>
              <c:f>Sheet1!$B$2:$B$10</c:f>
              <c:numCache>
                <c:formatCode>General</c:formatCode>
                <c:ptCount val="9"/>
                <c:pt idx="0">
                  <c:v>0.85499999999999998</c:v>
                </c:pt>
                <c:pt idx="1">
                  <c:v>0.82199999999999995</c:v>
                </c:pt>
                <c:pt idx="2">
                  <c:v>1.0820000000000001</c:v>
                </c:pt>
                <c:pt idx="3">
                  <c:v>1.1399999999999999</c:v>
                </c:pt>
                <c:pt idx="4">
                  <c:v>1.1879999999999999</c:v>
                </c:pt>
                <c:pt idx="5">
                  <c:v>0.73199999999999998</c:v>
                </c:pt>
                <c:pt idx="6">
                  <c:v>0.92500000000000004</c:v>
                </c:pt>
                <c:pt idx="7">
                  <c:v>1.488</c:v>
                </c:pt>
                <c:pt idx="8">
                  <c:v>1.1220000000000001</c:v>
                </c:pt>
              </c:numCache>
            </c:numRef>
          </c:yVal>
          <c:bubbleSize>
            <c:numRef>
              <c:f>Sheet1!$C$2:$C$10</c:f>
              <c:numCache>
                <c:formatCode>General</c:formatCode>
                <c:ptCount val="9"/>
                <c:pt idx="0">
                  <c:v>1760863092</c:v>
                </c:pt>
                <c:pt idx="1">
                  <c:v>230947562</c:v>
                </c:pt>
                <c:pt idx="2">
                  <c:v>200738299</c:v>
                </c:pt>
                <c:pt idx="3">
                  <c:v>188621011</c:v>
                </c:pt>
                <c:pt idx="4">
                  <c:v>187705593</c:v>
                </c:pt>
                <c:pt idx="5">
                  <c:v>146085508</c:v>
                </c:pt>
                <c:pt idx="6">
                  <c:v>143118988</c:v>
                </c:pt>
                <c:pt idx="7">
                  <c:v>133719924</c:v>
                </c:pt>
                <c:pt idx="8">
                  <c:v>128025208</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Coeur De Lion</c:v>
                  </c:pt>
                  <c:pt idx="6">
                    <c:v>La Vache Qui Rit</c:v>
                  </c:pt>
                  <c:pt idx="7">
                    <c:v>Mini Babybel</c:v>
                  </c:pt>
                  <c:pt idx="8">
                    <c:v>Galba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B$2:$B$8</c:f>
              <c:numCache>
                <c:formatCode>General</c:formatCode>
                <c:ptCount val="7"/>
                <c:pt idx="0">
                  <c:v>2.4628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C$2:$C$8</c:f>
              <c:numCache>
                <c:formatCode>General</c:formatCode>
                <c:ptCount val="7"/>
                <c:pt idx="0">
                  <c:v>2.1486999999999998</c:v>
                </c:pt>
                <c:pt idx="2">
                  <c:v>2.6366999999999998</c:v>
                </c:pt>
                <c:pt idx="6">
                  <c:v>2.24540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D$2:$D$8</c:f>
              <c:numCache>
                <c:formatCode>General</c:formatCode>
                <c:ptCount val="7"/>
                <c:pt idx="0">
                  <c:v>1.3109</c:v>
                </c:pt>
                <c:pt idx="1">
                  <c:v>1.5152000000000001</c:v>
                </c:pt>
                <c:pt idx="2">
                  <c:v>2.3485</c:v>
                </c:pt>
                <c:pt idx="3">
                  <c:v>1.6423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E$2:$E$8</c:f>
              <c:numCache>
                <c:formatCode>General</c:formatCode>
                <c:ptCount val="7"/>
                <c:pt idx="0">
                  <c:v>2.1614</c:v>
                </c:pt>
                <c:pt idx="1">
                  <c:v>2.9659</c:v>
                </c:pt>
                <c:pt idx="3">
                  <c:v>2.5783</c:v>
                </c:pt>
                <c:pt idx="5">
                  <c:v>2.79640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F$2:$F$8</c:f>
              <c:numCache>
                <c:formatCode>General</c:formatCode>
                <c:ptCount val="7"/>
                <c:pt idx="0">
                  <c:v>2.9594999999999998</c:v>
                </c:pt>
                <c:pt idx="2">
                  <c:v>3.6528</c:v>
                </c:pt>
                <c:pt idx="3">
                  <c:v>4.4829999999999997</c:v>
                </c:pt>
                <c:pt idx="4">
                  <c:v>2.8361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G$2:$G$8</c:f>
              <c:numCache>
                <c:formatCode>General</c:formatCode>
                <c:ptCount val="7"/>
                <c:pt idx="0">
                  <c:v>2.2301000000000002</c:v>
                </c:pt>
                <c:pt idx="1">
                  <c:v>2.5897000000000001</c:v>
                </c:pt>
                <c:pt idx="2">
                  <c:v>4.619500000000000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H$2:$H$8</c:f>
              <c:numCache>
                <c:formatCode>General</c:formatCode>
                <c:ptCount val="7"/>
                <c:pt idx="4">
                  <c:v>3.3149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I$2:$I$8</c:f>
              <c:numCache>
                <c:formatCode>General</c:formatCode>
                <c:ptCount val="7"/>
                <c:pt idx="0">
                  <c:v>2.7160000000000002</c:v>
                </c:pt>
                <c:pt idx="1">
                  <c:v>3.58680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J$2:$J$8</c:f>
              <c:numCache>
                <c:formatCode>General</c:formatCode>
                <c:ptCount val="7"/>
                <c:pt idx="0">
                  <c:v>2.9542999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B$2:$B$8</c:f>
              <c:numCache>
                <c:formatCode>General</c:formatCode>
                <c:ptCount val="7"/>
                <c:pt idx="0">
                  <c:v>1.9787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C$2:$C$8</c:f>
              <c:numCache>
                <c:formatCode>General</c:formatCode>
                <c:ptCount val="7"/>
                <c:pt idx="0">
                  <c:v>2.2079</c:v>
                </c:pt>
                <c:pt idx="1">
                  <c:v>2.5787</c:v>
                </c:pt>
                <c:pt idx="6">
                  <c:v>2.236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D$2:$D$8</c:f>
              <c:numCache>
                <c:formatCode>General</c:formatCode>
                <c:ptCount val="7"/>
                <c:pt idx="0">
                  <c:v>1.3940999999999999</c:v>
                </c:pt>
                <c:pt idx="1">
                  <c:v>2.5105</c:v>
                </c:pt>
                <c:pt idx="2">
                  <c:v>1.5953999999999999</c:v>
                </c:pt>
                <c:pt idx="3">
                  <c:v>1.7573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E$2:$E$8</c:f>
              <c:numCache>
                <c:formatCode>General</c:formatCode>
                <c:ptCount val="7"/>
                <c:pt idx="0">
                  <c:v>2.2494999999999998</c:v>
                </c:pt>
                <c:pt idx="1">
                  <c:v>2.8174999999999999</c:v>
                </c:pt>
                <c:pt idx="2">
                  <c:v>2.6676000000000002</c:v>
                </c:pt>
                <c:pt idx="3">
                  <c:v>2.7401</c:v>
                </c:pt>
                <c:pt idx="5">
                  <c:v>2.7654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F$2:$F$8</c:f>
              <c:numCache>
                <c:formatCode>General</c:formatCode>
                <c:ptCount val="7"/>
                <c:pt idx="0">
                  <c:v>3.0125000000000002</c:v>
                </c:pt>
                <c:pt idx="1">
                  <c:v>3.6293000000000002</c:v>
                </c:pt>
                <c:pt idx="3">
                  <c:v>4.1787999999999998</c:v>
                </c:pt>
                <c:pt idx="4">
                  <c:v>2.9666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G$2:$G$8</c:f>
              <c:numCache>
                <c:formatCode>General</c:formatCode>
                <c:ptCount val="7"/>
                <c:pt idx="0">
                  <c:v>2.2553999999999998</c:v>
                </c:pt>
                <c:pt idx="1">
                  <c:v>4.6925999999999997</c:v>
                </c:pt>
                <c:pt idx="2">
                  <c:v>2.7865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H$2:$H$8</c:f>
              <c:numCache>
                <c:formatCode>General</c:formatCode>
                <c:ptCount val="7"/>
                <c:pt idx="4">
                  <c:v>3.278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I$2:$I$8</c:f>
              <c:numCache>
                <c:formatCode>General</c:formatCode>
                <c:ptCount val="7"/>
                <c:pt idx="0">
                  <c:v>2.7353999999999998</c:v>
                </c:pt>
                <c:pt idx="2">
                  <c:v>3.7557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J$2:$J$8</c:f>
              <c:numCache>
                <c:formatCode>General</c:formatCode>
                <c:ptCount val="7"/>
                <c:pt idx="0">
                  <c:v>3.009100000000000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B$2:$B$8</c:f>
              <c:numCache>
                <c:formatCode>General</c:formatCode>
                <c:ptCount val="7"/>
                <c:pt idx="0">
                  <c:v>2.86629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C$2:$C$8</c:f>
              <c:numCache>
                <c:formatCode>General</c:formatCode>
                <c:ptCount val="7"/>
                <c:pt idx="0">
                  <c:v>1.7848999999999999</c:v>
                </c:pt>
                <c:pt idx="6">
                  <c:v>2.33740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D$2:$D$8</c:f>
              <c:numCache>
                <c:formatCode>General</c:formatCode>
                <c:ptCount val="7"/>
                <c:pt idx="0">
                  <c:v>1.2884</c:v>
                </c:pt>
                <c:pt idx="1">
                  <c:v>1.5113000000000001</c:v>
                </c:pt>
                <c:pt idx="3">
                  <c:v>1.7226999999999999</c:v>
                </c:pt>
                <c:pt idx="4">
                  <c:v>2.8254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E$2:$E$8</c:f>
              <c:numCache>
                <c:formatCode>General</c:formatCode>
                <c:ptCount val="7"/>
                <c:pt idx="0">
                  <c:v>2.2326999999999999</c:v>
                </c:pt>
                <c:pt idx="1">
                  <c:v>3.0937999999999999</c:v>
                </c:pt>
                <c:pt idx="2">
                  <c:v>2.8412000000000002</c:v>
                </c:pt>
                <c:pt idx="5">
                  <c:v>2.8961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F$2:$F$8</c:f>
              <c:numCache>
                <c:formatCode>General</c:formatCode>
                <c:ptCount val="7"/>
                <c:pt idx="0">
                  <c:v>3.1911</c:v>
                </c:pt>
                <c:pt idx="2">
                  <c:v>2.7414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G$2:$G$8</c:f>
              <c:numCache>
                <c:formatCode>General</c:formatCode>
                <c:ptCount val="7"/>
                <c:pt idx="0">
                  <c:v>1.7465999999999999</c:v>
                </c:pt>
                <c:pt idx="1">
                  <c:v>2.5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H$2:$H$8</c:f>
              <c:numCache>
                <c:formatCode>General</c:formatCode>
                <c:ptCount val="7"/>
                <c:pt idx="0">
                  <c:v>2.1259000000000001</c:v>
                </c:pt>
                <c:pt idx="2">
                  <c:v>3.3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I$2:$I$8</c:f>
              <c:numCache>
                <c:formatCode>General</c:formatCode>
                <c:ptCount val="7"/>
                <c:pt idx="1">
                  <c:v>3.48459999999999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J$2:$J$8</c:f>
              <c:numCache>
                <c:formatCode>General</c:formatCode>
                <c:ptCount val="7"/>
                <c:pt idx="0">
                  <c:v>2.9628999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66D792-D030-49AD-ACE6-68E897EF8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7FE8D2-65E0-479A-880C-E6AA8D430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00BDB5-CAF4-4E34-9FD9-DC6D765C9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A3D236-96D2-4681-BAC4-B170E1395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82B69A-A92F-4DA6-AF8C-DE5D7659C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50C487-F9E3-4218-8784-6324F6425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AEBCA1-E329-4B7B-B735-F539110F6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AC712E-7A76-4FDC-89E4-73CBC8455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1959</c:v>
                </c:pt>
                <c:pt idx="1">
                  <c:v>2.3527999999999998</c:v>
                </c:pt>
                <c:pt idx="2">
                  <c:v>2.8315000000000001</c:v>
                </c:pt>
                <c:pt idx="3">
                  <c:v>3.2755999999999998</c:v>
                </c:pt>
                <c:pt idx="4">
                  <c:v>3.0144000000000002</c:v>
                </c:pt>
                <c:pt idx="5">
                  <c:v>3.2692000000000001</c:v>
                </c:pt>
                <c:pt idx="6">
                  <c:v>2.4649000000000001</c:v>
                </c:pt>
                <c:pt idx="7">
                  <c:v>2.9653</c:v>
                </c:pt>
                <c:pt idx="8">
                  <c:v>3.4565000000000001</c:v>
                </c:pt>
              </c:numCache>
            </c:numRef>
          </c:xVal>
          <c:yVal>
            <c:numRef>
              <c:f>Sheet1!$B$2:$B$10</c:f>
              <c:numCache>
                <c:formatCode>General</c:formatCode>
                <c:ptCount val="9"/>
                <c:pt idx="0">
                  <c:v>0.88500000000000001</c:v>
                </c:pt>
                <c:pt idx="1">
                  <c:v>0.77700000000000002</c:v>
                </c:pt>
                <c:pt idx="2">
                  <c:v>1.0529999999999999</c:v>
                </c:pt>
                <c:pt idx="3">
                  <c:v>1.1479999999999999</c:v>
                </c:pt>
                <c:pt idx="4">
                  <c:v>1.137</c:v>
                </c:pt>
                <c:pt idx="5">
                  <c:v>0.80200000000000005</c:v>
                </c:pt>
                <c:pt idx="6">
                  <c:v>0.69399999999999995</c:v>
                </c:pt>
                <c:pt idx="7">
                  <c:v>1.04</c:v>
                </c:pt>
                <c:pt idx="8">
                  <c:v>1.341</c:v>
                </c:pt>
              </c:numCache>
            </c:numRef>
          </c:yVal>
          <c:bubbleSize>
            <c:numRef>
              <c:f>Sheet1!$C$2:$C$10</c:f>
              <c:numCache>
                <c:formatCode>General</c:formatCode>
                <c:ptCount val="9"/>
                <c:pt idx="0">
                  <c:v>263392264</c:v>
                </c:pt>
                <c:pt idx="1">
                  <c:v>39509333</c:v>
                </c:pt>
                <c:pt idx="2">
                  <c:v>34407631</c:v>
                </c:pt>
                <c:pt idx="3">
                  <c:v>32529804</c:v>
                </c:pt>
                <c:pt idx="4">
                  <c:v>30956719</c:v>
                </c:pt>
                <c:pt idx="5">
                  <c:v>30468388</c:v>
                </c:pt>
                <c:pt idx="6">
                  <c:v>25638814</c:v>
                </c:pt>
                <c:pt idx="7">
                  <c:v>22816387</c:v>
                </c:pt>
                <c:pt idx="8">
                  <c:v>2261379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Coeur De Lion</c:v>
                  </c:pt>
                  <c:pt idx="7">
                    <c:v>Kiri</c:v>
                  </c:pt>
                  <c:pt idx="8">
                    <c:v>Mini Baby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EA0550-31EB-4E12-BE10-1BE065820F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65C4C0-97E6-4BB1-A013-A93824595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14251C-A0BF-45E5-BCD9-02F84E09D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359554-D77F-40B5-95C0-17C275F46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55AD17-7656-45DD-A0C9-C323B6397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11A034-9E19-475C-97AE-1717BB87D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F1FFB1-9D18-43B1-885B-AB41316EC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3244D3-200F-45D4-8AB4-8CE872511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106999999999999</c:v>
                </c:pt>
                <c:pt idx="1">
                  <c:v>2.3565</c:v>
                </c:pt>
                <c:pt idx="2">
                  <c:v>2.7509000000000001</c:v>
                </c:pt>
                <c:pt idx="3">
                  <c:v>2.9500999999999999</c:v>
                </c:pt>
                <c:pt idx="4">
                  <c:v>3.3361999999999998</c:v>
                </c:pt>
                <c:pt idx="5">
                  <c:v>2.2946</c:v>
                </c:pt>
                <c:pt idx="6">
                  <c:v>3.3645999999999998</c:v>
                </c:pt>
                <c:pt idx="7">
                  <c:v>2.5411000000000001</c:v>
                </c:pt>
                <c:pt idx="8">
                  <c:v>3.5409000000000002</c:v>
                </c:pt>
              </c:numCache>
            </c:numRef>
          </c:xVal>
          <c:yVal>
            <c:numRef>
              <c:f>Sheet1!$B$2:$B$10</c:f>
              <c:numCache>
                <c:formatCode>General</c:formatCode>
                <c:ptCount val="9"/>
                <c:pt idx="0">
                  <c:v>0.83699999999999997</c:v>
                </c:pt>
                <c:pt idx="1">
                  <c:v>0.83899999999999997</c:v>
                </c:pt>
                <c:pt idx="2">
                  <c:v>1.0860000000000001</c:v>
                </c:pt>
                <c:pt idx="3">
                  <c:v>1.1259999999999999</c:v>
                </c:pt>
                <c:pt idx="4">
                  <c:v>1.2210000000000001</c:v>
                </c:pt>
                <c:pt idx="5">
                  <c:v>1.145</c:v>
                </c:pt>
                <c:pt idx="6">
                  <c:v>0.96499999999999997</c:v>
                </c:pt>
                <c:pt idx="7">
                  <c:v>0.76800000000000002</c:v>
                </c:pt>
                <c:pt idx="8">
                  <c:v>1.5249999999999999</c:v>
                </c:pt>
              </c:numCache>
            </c:numRef>
          </c:yVal>
          <c:bubbleSize>
            <c:numRef>
              <c:f>Sheet1!$C$2:$C$10</c:f>
              <c:numCache>
                <c:formatCode>General</c:formatCode>
                <c:ptCount val="9"/>
                <c:pt idx="0">
                  <c:v>189926117</c:v>
                </c:pt>
                <c:pt idx="1">
                  <c:v>39277810</c:v>
                </c:pt>
                <c:pt idx="2">
                  <c:v>33117229</c:v>
                </c:pt>
                <c:pt idx="3">
                  <c:v>30253337</c:v>
                </c:pt>
                <c:pt idx="4">
                  <c:v>29411346</c:v>
                </c:pt>
                <c:pt idx="5">
                  <c:v>23364293</c:v>
                </c:pt>
                <c:pt idx="6">
                  <c:v>22557022</c:v>
                </c:pt>
                <c:pt idx="7">
                  <c:v>22493816</c:v>
                </c:pt>
                <c:pt idx="8">
                  <c:v>1931390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Galbani</c:v>
                  </c:pt>
                  <c:pt idx="6">
                    <c:v>La Vache Qui Rit</c:v>
                  </c:pt>
                  <c:pt idx="7">
                    <c:v>Coeur De Lion</c:v>
                  </c:pt>
                  <c:pt idx="8">
                    <c:v>Mini Baby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B3C7ED-FC0F-46FD-A4D9-1E0095B46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85C00B-15FD-438E-8FEE-59E98A9936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4A0394-0112-43F7-83F0-0533042BC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C69CCB-70DE-4851-954C-22B38A0FE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23124A-7AE3-45C8-A349-0584FC2C4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4FF844-2793-4FD3-9BEF-A526F6392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837ABD8-B31B-4194-B604-7067CE373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A2A0751-DAD5-4EF0-BBCE-155DFCA74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6396999999999999</c:v>
                </c:pt>
                <c:pt idx="1">
                  <c:v>2.0247000000000002</c:v>
                </c:pt>
                <c:pt idx="2">
                  <c:v>3.3784000000000001</c:v>
                </c:pt>
                <c:pt idx="3">
                  <c:v>2.8138999999999998</c:v>
                </c:pt>
                <c:pt idx="4">
                  <c:v>2.6101999999999999</c:v>
                </c:pt>
                <c:pt idx="5">
                  <c:v>5.2855999999999996</c:v>
                </c:pt>
              </c:numCache>
            </c:numRef>
          </c:xVal>
          <c:yVal>
            <c:numRef>
              <c:f>Sheet1!$B$2:$B$7</c:f>
              <c:numCache>
                <c:formatCode>General</c:formatCode>
                <c:ptCount val="6"/>
                <c:pt idx="0">
                  <c:v>0.873</c:v>
                </c:pt>
                <c:pt idx="1">
                  <c:v>1.04</c:v>
                </c:pt>
                <c:pt idx="2">
                  <c:v>1.736</c:v>
                </c:pt>
                <c:pt idx="3">
                  <c:v>1.34</c:v>
                </c:pt>
                <c:pt idx="4">
                  <c:v>1.341</c:v>
                </c:pt>
                <c:pt idx="5">
                  <c:v>1.528</c:v>
                </c:pt>
              </c:numCache>
            </c:numRef>
          </c:yVal>
          <c:bubbleSize>
            <c:numRef>
              <c:f>Sheet1!$C$2:$C$7</c:f>
              <c:numCache>
                <c:formatCode>General</c:formatCode>
                <c:ptCount val="6"/>
                <c:pt idx="0">
                  <c:v>127145345</c:v>
                </c:pt>
                <c:pt idx="1">
                  <c:v>30565706</c:v>
                </c:pt>
                <c:pt idx="2">
                  <c:v>18356742</c:v>
                </c:pt>
                <c:pt idx="3">
                  <c:v>14160014</c:v>
                </c:pt>
                <c:pt idx="4">
                  <c:v>10194513</c:v>
                </c:pt>
                <c:pt idx="5">
                  <c:v>215675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C07192-CC87-4D4F-BC8B-C09B2FEA4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AED220-710D-4897-92FA-C8D3B6DF3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F6A02E-C455-4355-93E3-7C1DE9B24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10BC58-E385-4941-8F6D-AC9783328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CEB860-053C-42CC-9A88-978B5A806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714378-FE80-4FC5-9CC3-01B539839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5CD16FB-55AC-4817-A8C8-0645D3367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D0106D1-39C2-4BFD-83C9-BA5479D38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854999999999999</c:v>
                </c:pt>
                <c:pt idx="1">
                  <c:v>2.1145</c:v>
                </c:pt>
                <c:pt idx="2">
                  <c:v>3.4693000000000001</c:v>
                </c:pt>
                <c:pt idx="3">
                  <c:v>3.0528</c:v>
                </c:pt>
                <c:pt idx="4">
                  <c:v>2.6516999999999999</c:v>
                </c:pt>
                <c:pt idx="5">
                  <c:v>5.1757</c:v>
                </c:pt>
              </c:numCache>
            </c:numRef>
          </c:xVal>
          <c:yVal>
            <c:numRef>
              <c:f>Sheet1!$B$2:$B$7</c:f>
              <c:numCache>
                <c:formatCode>General</c:formatCode>
                <c:ptCount val="6"/>
                <c:pt idx="0">
                  <c:v>0.876</c:v>
                </c:pt>
                <c:pt idx="1">
                  <c:v>1.0249999999999999</c:v>
                </c:pt>
                <c:pt idx="2">
                  <c:v>1.6819999999999999</c:v>
                </c:pt>
                <c:pt idx="3">
                  <c:v>1.4810000000000001</c:v>
                </c:pt>
                <c:pt idx="4">
                  <c:v>1.2889999999999999</c:v>
                </c:pt>
                <c:pt idx="5">
                  <c:v>1.597</c:v>
                </c:pt>
              </c:numCache>
            </c:numRef>
          </c:yVal>
          <c:bubbleSize>
            <c:numRef>
              <c:f>Sheet1!$C$2:$C$7</c:f>
              <c:numCache>
                <c:formatCode>General</c:formatCode>
                <c:ptCount val="6"/>
                <c:pt idx="0">
                  <c:v>23637907</c:v>
                </c:pt>
                <c:pt idx="1">
                  <c:v>5715349</c:v>
                </c:pt>
                <c:pt idx="2">
                  <c:v>3679581</c:v>
                </c:pt>
                <c:pt idx="3">
                  <c:v>2136150</c:v>
                </c:pt>
                <c:pt idx="4">
                  <c:v>1221414</c:v>
                </c:pt>
                <c:pt idx="5">
                  <c:v>535470</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055484-BD79-4443-AC1D-710F5ACA0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37935E-1F6E-40C0-A6F4-B42A620B5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4686A1-1845-47E0-9653-88B5F1099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B386FC-4996-45F8-B435-D21B8FDB4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6A16D1-29FC-4321-AB14-B518F1436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3374F7-A9A2-43D0-AF72-4FB598C20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23D1478-7DBC-49CB-913D-1A17012A3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2EB8B0A-DA93-4E60-B572-94A08A9BD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511000000000001</c:v>
                </c:pt>
                <c:pt idx="1">
                  <c:v>2.1533000000000002</c:v>
                </c:pt>
                <c:pt idx="2">
                  <c:v>3.3626999999999998</c:v>
                </c:pt>
                <c:pt idx="3">
                  <c:v>2.6185</c:v>
                </c:pt>
                <c:pt idx="4">
                  <c:v>2.5989</c:v>
                </c:pt>
                <c:pt idx="5">
                  <c:v>2.8252000000000002</c:v>
                </c:pt>
              </c:numCache>
            </c:numRef>
          </c:xVal>
          <c:yVal>
            <c:numRef>
              <c:f>Sheet1!$B$2:$B$7</c:f>
              <c:numCache>
                <c:formatCode>General</c:formatCode>
                <c:ptCount val="6"/>
                <c:pt idx="0">
                  <c:v>0.88700000000000001</c:v>
                </c:pt>
                <c:pt idx="1">
                  <c:v>1.1140000000000001</c:v>
                </c:pt>
                <c:pt idx="2">
                  <c:v>1.74</c:v>
                </c:pt>
                <c:pt idx="3">
                  <c:v>1.357</c:v>
                </c:pt>
                <c:pt idx="4">
                  <c:v>1.0129999999999999</c:v>
                </c:pt>
                <c:pt idx="5">
                  <c:v>0.81599999999999995</c:v>
                </c:pt>
              </c:numCache>
            </c:numRef>
          </c:yVal>
          <c:bubbleSize>
            <c:numRef>
              <c:f>Sheet1!$C$2:$C$7</c:f>
              <c:numCache>
                <c:formatCode>General</c:formatCode>
                <c:ptCount val="6"/>
                <c:pt idx="0">
                  <c:v>23271110</c:v>
                </c:pt>
                <c:pt idx="1">
                  <c:v>4730575</c:v>
                </c:pt>
                <c:pt idx="2">
                  <c:v>4275865</c:v>
                </c:pt>
                <c:pt idx="3">
                  <c:v>2668533</c:v>
                </c:pt>
                <c:pt idx="4">
                  <c:v>2642649</c:v>
                </c:pt>
                <c:pt idx="5">
                  <c:v>473706</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pt idx="5">
                    <c:v>Entremon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2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28.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2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0.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1.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34.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35.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36.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3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38.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3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0.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1.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2.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18087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94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4347"/>
            <a:ext cx="4869366" cy="8033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48289"/>
            <a:ext cx="4869366" cy="16272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292950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6509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3596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58089"/>
            <a:ext cx="4869366" cy="6939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218624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89526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8077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02529"/>
            <a:ext cx="4869366" cy="6794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64646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983311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04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2344"/>
            <a:ext cx="4869366" cy="6860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12176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78562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235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0962"/>
            <a:ext cx="4869366" cy="8420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7257"/>
            <a:ext cx="4869366" cy="5565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8120"/>
            <a:ext cx="4869366" cy="11274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2179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50748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675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85753"/>
            <a:ext cx="4869366" cy="8206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0330"/>
            <a:ext cx="4869366" cy="5424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6715"/>
            <a:ext cx="4869366" cy="109886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35058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48626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188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1047"/>
            <a:ext cx="4869366" cy="8749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0833"/>
            <a:ext cx="4869366" cy="5783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4024"/>
            <a:ext cx="4869366" cy="117155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565330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433126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614976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96256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157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38867"/>
            <a:ext cx="4869366" cy="7330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0702"/>
            <a:ext cx="4869366" cy="14848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14821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65433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42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9436"/>
            <a:ext cx="4869366" cy="811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31752"/>
            <a:ext cx="4869366" cy="1643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10091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98932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22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4508"/>
            <a:ext cx="4869366" cy="6984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66574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76829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9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72573"/>
            <a:ext cx="4869366" cy="7219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13078"/>
            <a:ext cx="4869366" cy="146249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147936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883947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212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5612"/>
            <a:ext cx="4869366" cy="7472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20918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619715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95885"/>
            <a:ext cx="4869366" cy="9821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4664"/>
            <a:ext cx="4869366" cy="6492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09189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5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oeur De L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83777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53361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ntremo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90075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868099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855453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498480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ATION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612578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Carrefour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0774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53689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5135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5850"/>
            <a:ext cx="4869366" cy="78646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232286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termarche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287620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334235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8025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460881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215810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983798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576624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830116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460905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6478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50669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7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10421"/>
            <a:ext cx="4869366" cy="709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8204"/>
            <a:ext cx="4869366" cy="143737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971512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774503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992129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257579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262945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043662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159738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151858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677487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924507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5833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96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3881"/>
            <a:ext cx="4869366" cy="7772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1089"/>
            <a:ext cx="4869366" cy="15744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159475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285762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347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56862"/>
            <a:ext cx="4869366" cy="6943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69034"/>
            <a:ext cx="4869366" cy="140654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839133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22723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5943"/>
            <a:ext cx="4869366" cy="935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7775"/>
            <a:ext cx="4869366" cy="6186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84877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17544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4466"/>
            <a:ext cx="4869366" cy="962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3609"/>
            <a:ext cx="4869366" cy="6364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807245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86431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1798"/>
            <a:ext cx="4869366" cy="93403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1667"/>
            <a:ext cx="4869366" cy="6174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36340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TotalTime>
  <Words>4344</Words>
  <Application>Microsoft Office PowerPoint</Application>
  <PresentationFormat>On-screen Show (16:9)</PresentationFormat>
  <Paragraphs>1150</Paragraphs>
  <Slides>48</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6</cp:revision>
  <dcterms:created xsi:type="dcterms:W3CDTF">2024-07-05T14:56:51Z</dcterms:created>
  <dcterms:modified xsi:type="dcterms:W3CDTF">2025-09-09T09:4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